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5"/>
  </p:sldMasterIdLst>
  <p:notesMasterIdLst>
    <p:notesMasterId r:id="rId148"/>
  </p:notesMasterIdLst>
  <p:handoutMasterIdLst>
    <p:handoutMasterId r:id="rId149"/>
  </p:handoutMasterIdLst>
  <p:sldIdLst>
    <p:sldId id="286" r:id="rId6"/>
    <p:sldId id="300" r:id="rId7"/>
    <p:sldId id="517" r:id="rId8"/>
    <p:sldId id="390" r:id="rId9"/>
    <p:sldId id="326" r:id="rId10"/>
    <p:sldId id="518" r:id="rId11"/>
    <p:sldId id="519" r:id="rId12"/>
    <p:sldId id="625" r:id="rId13"/>
    <p:sldId id="521" r:id="rId14"/>
    <p:sldId id="522" r:id="rId15"/>
    <p:sldId id="626" r:id="rId16"/>
    <p:sldId id="523" r:id="rId17"/>
    <p:sldId id="617" r:id="rId18"/>
    <p:sldId id="524" r:id="rId19"/>
    <p:sldId id="525" r:id="rId20"/>
    <p:sldId id="526" r:id="rId21"/>
    <p:sldId id="527" r:id="rId22"/>
    <p:sldId id="528" r:id="rId23"/>
    <p:sldId id="529" r:id="rId24"/>
    <p:sldId id="627" r:id="rId25"/>
    <p:sldId id="530" r:id="rId26"/>
    <p:sldId id="531" r:id="rId27"/>
    <p:sldId id="532" r:id="rId28"/>
    <p:sldId id="533" r:id="rId29"/>
    <p:sldId id="618" r:id="rId30"/>
    <p:sldId id="534" r:id="rId31"/>
    <p:sldId id="619" r:id="rId32"/>
    <p:sldId id="535" r:id="rId33"/>
    <p:sldId id="536" r:id="rId34"/>
    <p:sldId id="628" r:id="rId35"/>
    <p:sldId id="537" r:id="rId36"/>
    <p:sldId id="538" r:id="rId37"/>
    <p:sldId id="620" r:id="rId38"/>
    <p:sldId id="539" r:id="rId39"/>
    <p:sldId id="540" r:id="rId40"/>
    <p:sldId id="541" r:id="rId41"/>
    <p:sldId id="621" r:id="rId42"/>
    <p:sldId id="542" r:id="rId43"/>
    <p:sldId id="629" r:id="rId44"/>
    <p:sldId id="543" r:id="rId45"/>
    <p:sldId id="544" r:id="rId46"/>
    <p:sldId id="622" r:id="rId47"/>
    <p:sldId id="545" r:id="rId48"/>
    <p:sldId id="546" r:id="rId49"/>
    <p:sldId id="547" r:id="rId50"/>
    <p:sldId id="548" r:id="rId51"/>
    <p:sldId id="623" r:id="rId52"/>
    <p:sldId id="549" r:id="rId53"/>
    <p:sldId id="624" r:id="rId54"/>
    <p:sldId id="550" r:id="rId55"/>
    <p:sldId id="551" r:id="rId56"/>
    <p:sldId id="552" r:id="rId57"/>
    <p:sldId id="553" r:id="rId58"/>
    <p:sldId id="635" r:id="rId59"/>
    <p:sldId id="554" r:id="rId60"/>
    <p:sldId id="630" r:id="rId61"/>
    <p:sldId id="555" r:id="rId62"/>
    <p:sldId id="556" r:id="rId63"/>
    <p:sldId id="557" r:id="rId64"/>
    <p:sldId id="558" r:id="rId65"/>
    <p:sldId id="559" r:id="rId66"/>
    <p:sldId id="560" r:id="rId67"/>
    <p:sldId id="561" r:id="rId68"/>
    <p:sldId id="562" r:id="rId69"/>
    <p:sldId id="636" r:id="rId70"/>
    <p:sldId id="563" r:id="rId71"/>
    <p:sldId id="637" r:id="rId72"/>
    <p:sldId id="564" r:id="rId73"/>
    <p:sldId id="638" r:id="rId74"/>
    <p:sldId id="565" r:id="rId75"/>
    <p:sldId id="631" r:id="rId76"/>
    <p:sldId id="566" r:id="rId77"/>
    <p:sldId id="639" r:id="rId78"/>
    <p:sldId id="567" r:id="rId79"/>
    <p:sldId id="568" r:id="rId80"/>
    <p:sldId id="569" r:id="rId81"/>
    <p:sldId id="640" r:id="rId82"/>
    <p:sldId id="641" r:id="rId83"/>
    <p:sldId id="570" r:id="rId84"/>
    <p:sldId id="571" r:id="rId85"/>
    <p:sldId id="572" r:id="rId86"/>
    <p:sldId id="642" r:id="rId87"/>
    <p:sldId id="573" r:id="rId88"/>
    <p:sldId id="643" r:id="rId89"/>
    <p:sldId id="574" r:id="rId90"/>
    <p:sldId id="644" r:id="rId91"/>
    <p:sldId id="645" r:id="rId92"/>
    <p:sldId id="575" r:id="rId93"/>
    <p:sldId id="576" r:id="rId94"/>
    <p:sldId id="646" r:id="rId95"/>
    <p:sldId id="577" r:id="rId96"/>
    <p:sldId id="632" r:id="rId97"/>
    <p:sldId id="578" r:id="rId98"/>
    <p:sldId id="647" r:id="rId99"/>
    <p:sldId id="579" r:id="rId100"/>
    <p:sldId id="580" r:id="rId101"/>
    <p:sldId id="581" r:id="rId102"/>
    <p:sldId id="648" r:id="rId103"/>
    <p:sldId id="649" r:id="rId104"/>
    <p:sldId id="582" r:id="rId105"/>
    <p:sldId id="583" r:id="rId106"/>
    <p:sldId id="584" r:id="rId107"/>
    <p:sldId id="585" r:id="rId108"/>
    <p:sldId id="586" r:id="rId109"/>
    <p:sldId id="587" r:id="rId110"/>
    <p:sldId id="588" r:id="rId111"/>
    <p:sldId id="650" r:id="rId112"/>
    <p:sldId id="589" r:id="rId113"/>
    <p:sldId id="590" r:id="rId114"/>
    <p:sldId id="591" r:id="rId115"/>
    <p:sldId id="633" r:id="rId116"/>
    <p:sldId id="592" r:id="rId117"/>
    <p:sldId id="651" r:id="rId118"/>
    <p:sldId id="593" r:id="rId119"/>
    <p:sldId id="594" r:id="rId120"/>
    <p:sldId id="595" r:id="rId121"/>
    <p:sldId id="596" r:id="rId122"/>
    <p:sldId id="652" r:id="rId123"/>
    <p:sldId id="597" r:id="rId124"/>
    <p:sldId id="653" r:id="rId125"/>
    <p:sldId id="598" r:id="rId126"/>
    <p:sldId id="599" r:id="rId127"/>
    <p:sldId id="600" r:id="rId128"/>
    <p:sldId id="601" r:id="rId129"/>
    <p:sldId id="602" r:id="rId130"/>
    <p:sldId id="603" r:id="rId131"/>
    <p:sldId id="604" r:id="rId132"/>
    <p:sldId id="605" r:id="rId133"/>
    <p:sldId id="606" r:id="rId134"/>
    <p:sldId id="634" r:id="rId135"/>
    <p:sldId id="607" r:id="rId136"/>
    <p:sldId id="608" r:id="rId137"/>
    <p:sldId id="609" r:id="rId138"/>
    <p:sldId id="610" r:id="rId139"/>
    <p:sldId id="611" r:id="rId140"/>
    <p:sldId id="654" r:id="rId141"/>
    <p:sldId id="612" r:id="rId142"/>
    <p:sldId id="655" r:id="rId143"/>
    <p:sldId id="613" r:id="rId144"/>
    <p:sldId id="614" r:id="rId145"/>
    <p:sldId id="615" r:id="rId146"/>
    <p:sldId id="324" r:id="rId147"/>
  </p:sldIdLst>
  <p:sldSz cx="9144000" cy="5143500" type="screen16x9"/>
  <p:notesSz cx="6797675" cy="992663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isclaimer" id="{7D1A2F5C-4CB0-EA4D-856F-B1C66709E451}">
          <p14:sldIdLst/>
        </p14:section>
        <p14:section name="Presentation" id="{FB104004-E473-0D4B-8243-AF4D6966DA67}">
          <p14:sldIdLst>
            <p14:sldId id="286"/>
            <p14:sldId id="300"/>
            <p14:sldId id="517"/>
            <p14:sldId id="390"/>
            <p14:sldId id="326"/>
            <p14:sldId id="518"/>
            <p14:sldId id="519"/>
            <p14:sldId id="625"/>
            <p14:sldId id="521"/>
            <p14:sldId id="522"/>
            <p14:sldId id="626"/>
            <p14:sldId id="523"/>
            <p14:sldId id="617"/>
            <p14:sldId id="524"/>
            <p14:sldId id="525"/>
            <p14:sldId id="526"/>
            <p14:sldId id="527"/>
            <p14:sldId id="528"/>
            <p14:sldId id="529"/>
            <p14:sldId id="627"/>
            <p14:sldId id="530"/>
            <p14:sldId id="531"/>
            <p14:sldId id="532"/>
            <p14:sldId id="533"/>
            <p14:sldId id="618"/>
            <p14:sldId id="534"/>
            <p14:sldId id="619"/>
            <p14:sldId id="535"/>
            <p14:sldId id="536"/>
            <p14:sldId id="628"/>
            <p14:sldId id="537"/>
            <p14:sldId id="538"/>
            <p14:sldId id="620"/>
            <p14:sldId id="539"/>
            <p14:sldId id="540"/>
            <p14:sldId id="541"/>
            <p14:sldId id="621"/>
            <p14:sldId id="542"/>
            <p14:sldId id="629"/>
            <p14:sldId id="543"/>
            <p14:sldId id="544"/>
            <p14:sldId id="622"/>
            <p14:sldId id="545"/>
            <p14:sldId id="546"/>
            <p14:sldId id="547"/>
            <p14:sldId id="548"/>
            <p14:sldId id="623"/>
            <p14:sldId id="549"/>
            <p14:sldId id="624"/>
            <p14:sldId id="550"/>
            <p14:sldId id="551"/>
            <p14:sldId id="552"/>
            <p14:sldId id="553"/>
            <p14:sldId id="635"/>
            <p14:sldId id="554"/>
            <p14:sldId id="630"/>
            <p14:sldId id="555"/>
            <p14:sldId id="556"/>
            <p14:sldId id="557"/>
            <p14:sldId id="558"/>
            <p14:sldId id="559"/>
            <p14:sldId id="560"/>
            <p14:sldId id="561"/>
            <p14:sldId id="562"/>
            <p14:sldId id="636"/>
            <p14:sldId id="563"/>
            <p14:sldId id="637"/>
            <p14:sldId id="564"/>
            <p14:sldId id="638"/>
            <p14:sldId id="565"/>
            <p14:sldId id="631"/>
            <p14:sldId id="566"/>
            <p14:sldId id="639"/>
            <p14:sldId id="567"/>
            <p14:sldId id="568"/>
            <p14:sldId id="569"/>
            <p14:sldId id="640"/>
            <p14:sldId id="641"/>
            <p14:sldId id="570"/>
            <p14:sldId id="571"/>
            <p14:sldId id="572"/>
            <p14:sldId id="642"/>
            <p14:sldId id="573"/>
            <p14:sldId id="643"/>
            <p14:sldId id="574"/>
            <p14:sldId id="644"/>
            <p14:sldId id="645"/>
            <p14:sldId id="575"/>
            <p14:sldId id="576"/>
            <p14:sldId id="646"/>
            <p14:sldId id="577"/>
            <p14:sldId id="632"/>
            <p14:sldId id="578"/>
            <p14:sldId id="647"/>
            <p14:sldId id="579"/>
            <p14:sldId id="580"/>
            <p14:sldId id="581"/>
            <p14:sldId id="648"/>
            <p14:sldId id="649"/>
            <p14:sldId id="582"/>
            <p14:sldId id="583"/>
            <p14:sldId id="584"/>
            <p14:sldId id="585"/>
            <p14:sldId id="586"/>
            <p14:sldId id="587"/>
            <p14:sldId id="588"/>
            <p14:sldId id="650"/>
            <p14:sldId id="589"/>
            <p14:sldId id="590"/>
            <p14:sldId id="591"/>
            <p14:sldId id="633"/>
            <p14:sldId id="592"/>
            <p14:sldId id="651"/>
            <p14:sldId id="593"/>
            <p14:sldId id="594"/>
            <p14:sldId id="595"/>
            <p14:sldId id="596"/>
            <p14:sldId id="652"/>
            <p14:sldId id="597"/>
            <p14:sldId id="653"/>
            <p14:sldId id="598"/>
            <p14:sldId id="599"/>
            <p14:sldId id="600"/>
            <p14:sldId id="601"/>
            <p14:sldId id="602"/>
            <p14:sldId id="603"/>
            <p14:sldId id="604"/>
            <p14:sldId id="605"/>
            <p14:sldId id="606"/>
            <p14:sldId id="634"/>
            <p14:sldId id="607"/>
            <p14:sldId id="608"/>
            <p14:sldId id="609"/>
            <p14:sldId id="610"/>
            <p14:sldId id="611"/>
            <p14:sldId id="654"/>
            <p14:sldId id="612"/>
            <p14:sldId id="655"/>
            <p14:sldId id="613"/>
            <p14:sldId id="614"/>
            <p14:sldId id="615"/>
            <p14:sldId id="324"/>
          </p14:sldIdLst>
        </p14:section>
        <p14:section name="Backup" id="{FBB7FFEC-A1B1-4B4C-8405-9442B649FA7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452">
          <p15:clr>
            <a:srgbClr val="A4A3A4"/>
          </p15:clr>
        </p15:guide>
        <p15:guide id="2" orient="horz" pos="776">
          <p15:clr>
            <a:srgbClr val="A4A3A4"/>
          </p15:clr>
        </p15:guide>
        <p15:guide id="3" orient="horz" pos="190">
          <p15:clr>
            <a:srgbClr val="A4A3A4"/>
          </p15:clr>
        </p15:guide>
        <p15:guide id="4" orient="horz" pos="1234" userDrawn="1">
          <p15:clr>
            <a:srgbClr val="A4A3A4"/>
          </p15:clr>
        </p15:guide>
        <p15:guide id="5" orient="horz" pos="1676">
          <p15:clr>
            <a:srgbClr val="A4A3A4"/>
          </p15:clr>
        </p15:guide>
        <p15:guide id="6" orient="horz" pos="1257" userDrawn="1">
          <p15:clr>
            <a:srgbClr val="A4A3A4"/>
          </p15:clr>
        </p15:guide>
        <p15:guide id="8" pos="3903">
          <p15:clr>
            <a:srgbClr val="A4A3A4"/>
          </p15:clr>
        </p15:guide>
        <p15:guide id="9" pos="2880">
          <p15:clr>
            <a:srgbClr val="A4A3A4"/>
          </p15:clr>
        </p15:guide>
        <p15:guide id="11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7" clrIdx="0"/>
  <p:cmAuthor id="1" name="Windows-Benutzer" initials="W" lastIdx="1" clrIdx="1"/>
  <p:cmAuthor id="2" name="GFT" initials="G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9C04"/>
    <a:srgbClr val="3594E8"/>
    <a:srgbClr val="131E59"/>
    <a:srgbClr val="008AC9"/>
    <a:srgbClr val="2649FF"/>
    <a:srgbClr val="1187A0"/>
    <a:srgbClr val="0E72A7"/>
    <a:srgbClr val="1083CF"/>
    <a:srgbClr val="192C6C"/>
    <a:srgbClr val="1189B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12" autoAdjust="0"/>
    <p:restoredTop sz="97344" autoAdjust="0"/>
  </p:normalViewPr>
  <p:slideViewPr>
    <p:cSldViewPr snapToGrid="0" snapToObjects="1">
      <p:cViewPr varScale="1">
        <p:scale>
          <a:sx n="85" d="100"/>
          <a:sy n="85" d="100"/>
        </p:scale>
        <p:origin x="182" y="62"/>
      </p:cViewPr>
      <p:guideLst>
        <p:guide orient="horz" pos="1452"/>
        <p:guide orient="horz" pos="776"/>
        <p:guide orient="horz" pos="190"/>
        <p:guide orient="horz" pos="1234"/>
        <p:guide orient="horz" pos="1676"/>
        <p:guide orient="horz" pos="1257"/>
        <p:guide pos="3903"/>
        <p:guide pos="2880"/>
        <p:guide pos="5480"/>
      </p:guideLst>
    </p:cSldViewPr>
  </p:slideViewPr>
  <p:outlineViewPr>
    <p:cViewPr>
      <p:scale>
        <a:sx n="33" d="100"/>
        <a:sy n="33" d="100"/>
      </p:scale>
      <p:origin x="0" y="1636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-365"/>
    </p:cViewPr>
  </p:sorterViewPr>
  <p:notesViewPr>
    <p:cSldViewPr snapToGrid="0" snapToObjects="1">
      <p:cViewPr varScale="1">
        <p:scale>
          <a:sx n="60" d="100"/>
          <a:sy n="60" d="100"/>
        </p:scale>
        <p:origin x="2698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117" Type="http://schemas.openxmlformats.org/officeDocument/2006/relationships/slide" Target="slides/slide112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12" Type="http://schemas.openxmlformats.org/officeDocument/2006/relationships/slide" Target="slides/slide107.xml"/><Relationship Id="rId133" Type="http://schemas.openxmlformats.org/officeDocument/2006/relationships/slide" Target="slides/slide128.xml"/><Relationship Id="rId138" Type="http://schemas.openxmlformats.org/officeDocument/2006/relationships/slide" Target="slides/slide133.xml"/><Relationship Id="rId154" Type="http://schemas.openxmlformats.org/officeDocument/2006/relationships/tableStyles" Target="tableStyles.xml"/><Relationship Id="rId16" Type="http://schemas.openxmlformats.org/officeDocument/2006/relationships/slide" Target="slides/slide11.xml"/><Relationship Id="rId107" Type="http://schemas.openxmlformats.org/officeDocument/2006/relationships/slide" Target="slides/slide102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slide" Target="slides/slide97.xml"/><Relationship Id="rId123" Type="http://schemas.openxmlformats.org/officeDocument/2006/relationships/slide" Target="slides/slide118.xml"/><Relationship Id="rId128" Type="http://schemas.openxmlformats.org/officeDocument/2006/relationships/slide" Target="slides/slide123.xml"/><Relationship Id="rId144" Type="http://schemas.openxmlformats.org/officeDocument/2006/relationships/slide" Target="slides/slide139.xml"/><Relationship Id="rId149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113" Type="http://schemas.openxmlformats.org/officeDocument/2006/relationships/slide" Target="slides/slide108.xml"/><Relationship Id="rId118" Type="http://schemas.openxmlformats.org/officeDocument/2006/relationships/slide" Target="slides/slide113.xml"/><Relationship Id="rId134" Type="http://schemas.openxmlformats.org/officeDocument/2006/relationships/slide" Target="slides/slide129.xml"/><Relationship Id="rId139" Type="http://schemas.openxmlformats.org/officeDocument/2006/relationships/slide" Target="slides/slide134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50" Type="http://schemas.openxmlformats.org/officeDocument/2006/relationships/commentAuthors" Target="commentAuthors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103" Type="http://schemas.openxmlformats.org/officeDocument/2006/relationships/slide" Target="slides/slide98.xml"/><Relationship Id="rId108" Type="http://schemas.openxmlformats.org/officeDocument/2006/relationships/slide" Target="slides/slide103.xml"/><Relationship Id="rId116" Type="http://schemas.openxmlformats.org/officeDocument/2006/relationships/slide" Target="slides/slide111.xml"/><Relationship Id="rId124" Type="http://schemas.openxmlformats.org/officeDocument/2006/relationships/slide" Target="slides/slide119.xml"/><Relationship Id="rId129" Type="http://schemas.openxmlformats.org/officeDocument/2006/relationships/slide" Target="slides/slide124.xml"/><Relationship Id="rId137" Type="http://schemas.openxmlformats.org/officeDocument/2006/relationships/slide" Target="slides/slide13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11" Type="http://schemas.openxmlformats.org/officeDocument/2006/relationships/slide" Target="slides/slide106.xml"/><Relationship Id="rId132" Type="http://schemas.openxmlformats.org/officeDocument/2006/relationships/slide" Target="slides/slide127.xml"/><Relationship Id="rId140" Type="http://schemas.openxmlformats.org/officeDocument/2006/relationships/slide" Target="slides/slide135.xml"/><Relationship Id="rId145" Type="http://schemas.openxmlformats.org/officeDocument/2006/relationships/slide" Target="slides/slide140.xml"/><Relationship Id="rId153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6" Type="http://schemas.openxmlformats.org/officeDocument/2006/relationships/slide" Target="slides/slide101.xml"/><Relationship Id="rId114" Type="http://schemas.openxmlformats.org/officeDocument/2006/relationships/slide" Target="slides/slide109.xml"/><Relationship Id="rId119" Type="http://schemas.openxmlformats.org/officeDocument/2006/relationships/slide" Target="slides/slide114.xml"/><Relationship Id="rId127" Type="http://schemas.openxmlformats.org/officeDocument/2006/relationships/slide" Target="slides/slide12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122" Type="http://schemas.openxmlformats.org/officeDocument/2006/relationships/slide" Target="slides/slide117.xml"/><Relationship Id="rId130" Type="http://schemas.openxmlformats.org/officeDocument/2006/relationships/slide" Target="slides/slide125.xml"/><Relationship Id="rId135" Type="http://schemas.openxmlformats.org/officeDocument/2006/relationships/slide" Target="slides/slide130.xml"/><Relationship Id="rId143" Type="http://schemas.openxmlformats.org/officeDocument/2006/relationships/slide" Target="slides/slide138.xml"/><Relationship Id="rId148" Type="http://schemas.openxmlformats.org/officeDocument/2006/relationships/notesMaster" Target="notesMasters/notesMaster1.xml"/><Relationship Id="rId15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openxmlformats.org/officeDocument/2006/relationships/slide" Target="slides/slide10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slide" Target="slides/slide99.xml"/><Relationship Id="rId120" Type="http://schemas.openxmlformats.org/officeDocument/2006/relationships/slide" Target="slides/slide115.xml"/><Relationship Id="rId125" Type="http://schemas.openxmlformats.org/officeDocument/2006/relationships/slide" Target="slides/slide120.xml"/><Relationship Id="rId141" Type="http://schemas.openxmlformats.org/officeDocument/2006/relationships/slide" Target="slides/slide136.xml"/><Relationship Id="rId146" Type="http://schemas.openxmlformats.org/officeDocument/2006/relationships/slide" Target="slides/slide14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110" Type="http://schemas.openxmlformats.org/officeDocument/2006/relationships/slide" Target="slides/slide105.xml"/><Relationship Id="rId115" Type="http://schemas.openxmlformats.org/officeDocument/2006/relationships/slide" Target="slides/slide110.xml"/><Relationship Id="rId131" Type="http://schemas.openxmlformats.org/officeDocument/2006/relationships/slide" Target="slides/slide126.xml"/><Relationship Id="rId136" Type="http://schemas.openxmlformats.org/officeDocument/2006/relationships/slide" Target="slides/slide131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52" Type="http://schemas.openxmlformats.org/officeDocument/2006/relationships/viewProps" Target="viewProp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slide" Target="slides/slide100.xml"/><Relationship Id="rId126" Type="http://schemas.openxmlformats.org/officeDocument/2006/relationships/slide" Target="slides/slide121.xml"/><Relationship Id="rId147" Type="http://schemas.openxmlformats.org/officeDocument/2006/relationships/slide" Target="slides/slide14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121" Type="http://schemas.openxmlformats.org/officeDocument/2006/relationships/slide" Target="slides/slide116.xml"/><Relationship Id="rId142" Type="http://schemas.openxmlformats.org/officeDocument/2006/relationships/slide" Target="slides/slide137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31.05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31.05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243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D34A9A-9AA9-41E5-9E1F-F891770607E0}" type="slidenum">
              <a:rPr lang="en-GB" smtClean="0"/>
              <a:t>1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6388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43707" y="458140"/>
            <a:ext cx="6692104" cy="221599"/>
          </a:xfrm>
        </p:spPr>
        <p:txBody>
          <a:bodyPr/>
          <a:lstStyle>
            <a:lvl1pPr>
              <a:defRPr sz="2800" baseline="0"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1801" y="789385"/>
            <a:ext cx="8296274" cy="4033838"/>
          </a:xfr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6453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37090" y="4922468"/>
            <a:ext cx="52899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800" dirty="0" smtClean="0">
                <a:solidFill>
                  <a:srgbClr val="C8C8C8"/>
                </a:solidFill>
              </a:rPr>
              <a:t>2015-12-10</a:t>
            </a:r>
            <a:endParaRPr lang="de-DE" sz="8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866775" y="1522408"/>
            <a:ext cx="5265737" cy="1205458"/>
          </a:xfrm>
        </p:spPr>
        <p:txBody>
          <a:bodyPr/>
          <a:lstStyle/>
          <a:p>
            <a:r>
              <a:rPr lang="es-ES" dirty="0" err="1" smtClean="0"/>
              <a:t>Introduction</a:t>
            </a:r>
            <a:r>
              <a:rPr lang="es-ES" dirty="0" smtClean="0"/>
              <a:t> </a:t>
            </a:r>
            <a:r>
              <a:rPr lang="es-ES" dirty="0" smtClean="0"/>
              <a:t>to</a:t>
            </a:r>
            <a:br>
              <a:rPr lang="es-ES" dirty="0" smtClean="0"/>
            </a:br>
            <a:r>
              <a:rPr lang="es-ES" dirty="0" err="1" smtClean="0"/>
              <a:t>Scala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6684" y="2599668"/>
            <a:ext cx="3765843" cy="1064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955800" y="2870200"/>
            <a:ext cx="1910459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00" defTabSz="685800">
              <a:spcBef>
                <a:spcPts val="600"/>
              </a:spcBef>
            </a:pPr>
            <a:r>
              <a:rPr lang="es-ES" sz="2600" dirty="0">
                <a:solidFill>
                  <a:schemeClr val="bg1"/>
                </a:solidFill>
              </a:rPr>
              <a:t>Ángel J. Rey</a:t>
            </a:r>
            <a:endParaRPr lang="en-US" sz="2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Exerci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8"/>
            <a:ext cx="8243888" cy="931488"/>
          </a:xfrm>
        </p:spPr>
        <p:txBody>
          <a:bodyPr>
            <a:noAutofit/>
          </a:bodyPr>
          <a:lstStyle/>
          <a:p>
            <a:r>
              <a:rPr lang="en-US" sz="2800" b="1" noProof="0" dirty="0" smtClean="0"/>
              <a:t>Exercise 1 – Basic operations in RPEL / Worksheet</a:t>
            </a:r>
            <a:endParaRPr lang="en-US" sz="2800" b="1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79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asses with Type Parameter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890587"/>
            <a:ext cx="8243888" cy="3856225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Let’s create our own collection and use a type parameter to ensure type safety. The new collection will extend Traversable[A], the parent class of </a:t>
            </a:r>
            <a:r>
              <a:rPr lang="en-US" sz="1800" noProof="0" dirty="0" err="1" smtClean="0"/>
              <a:t>Iterable</a:t>
            </a:r>
            <a:endParaRPr lang="en-US" sz="1800" noProof="0" dirty="0" smtClean="0"/>
          </a:p>
          <a:p>
            <a:pPr marL="0" indent="0">
              <a:buNone/>
            </a:pP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Singular[A](element: A) extends Traversable[A] {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each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B](f: A =&gt; B) = f(element)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Singular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 = new Singular("Planes")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: Singular[String] = (Planes)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p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each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lanes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ame: String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.head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ame: String = Planes</a:t>
            </a:r>
            <a:endParaRPr lang="en-US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3" name="Rounded Rectangular Callout 12"/>
          <p:cNvSpPr/>
          <p:nvPr/>
        </p:nvSpPr>
        <p:spPr>
          <a:xfrm>
            <a:off x="6135000" y="2042459"/>
            <a:ext cx="2849783" cy="484842"/>
          </a:xfrm>
          <a:prstGeom prst="wedgeRoundRectCallout">
            <a:avLst>
              <a:gd name="adj1" fmla="val -57541"/>
              <a:gd name="adj2" fmla="val -51731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400" dirty="0">
                <a:solidFill>
                  <a:srgbClr val="213E7F"/>
                </a:solidFill>
              </a:rPr>
              <a:t>passing a type parameter to the parent class in the class definition</a:t>
            </a:r>
            <a:endParaRPr lang="en-US" sz="1200" dirty="0">
              <a:solidFill>
                <a:srgbClr val="213E7F"/>
              </a:solidFill>
            </a:endParaRPr>
          </a:p>
        </p:txBody>
      </p:sp>
      <p:sp>
        <p:nvSpPr>
          <p:cNvPr id="15" name="Rounded Rectangular Callout 14"/>
          <p:cNvSpPr/>
          <p:nvPr/>
        </p:nvSpPr>
        <p:spPr>
          <a:xfrm>
            <a:off x="4575733" y="2609103"/>
            <a:ext cx="3774891" cy="484842"/>
          </a:xfrm>
          <a:prstGeom prst="wedgeRoundRectCallout">
            <a:avLst>
              <a:gd name="adj1" fmla="val -121591"/>
              <a:gd name="adj2" fmla="val -108588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400" dirty="0">
                <a:solidFill>
                  <a:srgbClr val="213E7F"/>
                </a:solidFill>
              </a:rPr>
              <a:t>By defining a </a:t>
            </a:r>
            <a:r>
              <a:rPr lang="en-GB" sz="1400" dirty="0" err="1">
                <a:solidFill>
                  <a:srgbClr val="213E7F"/>
                </a:solidFill>
              </a:rPr>
              <a:t>foreach</a:t>
            </a:r>
            <a:r>
              <a:rPr lang="en-GB" sz="1400" dirty="0">
                <a:solidFill>
                  <a:srgbClr val="213E7F"/>
                </a:solidFill>
              </a:rPr>
              <a:t>() operation, Traversable will ensure our class is a real collection </a:t>
            </a:r>
          </a:p>
        </p:txBody>
      </p:sp>
      <p:sp>
        <p:nvSpPr>
          <p:cNvPr id="16" name="Rounded Rectangular Callout 15"/>
          <p:cNvSpPr/>
          <p:nvPr/>
        </p:nvSpPr>
        <p:spPr>
          <a:xfrm>
            <a:off x="4575733" y="3166747"/>
            <a:ext cx="2671737" cy="484842"/>
          </a:xfrm>
          <a:prstGeom prst="wedgeRoundRectCallout">
            <a:avLst>
              <a:gd name="adj1" fmla="val -68709"/>
              <a:gd name="adj2" fmla="val -39251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Here is a validation of our type-parameterized class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3958912" y="3733050"/>
            <a:ext cx="2354482" cy="484842"/>
          </a:xfrm>
          <a:prstGeom prst="wedgeRoundRectCallout">
            <a:avLst>
              <a:gd name="adj1" fmla="val -84860"/>
              <a:gd name="adj2" fmla="val -58665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400" dirty="0">
                <a:solidFill>
                  <a:srgbClr val="213E7F"/>
                </a:solidFill>
              </a:rPr>
              <a:t>An example usage of the </a:t>
            </a:r>
            <a:r>
              <a:rPr lang="en-GB" sz="1400" dirty="0" err="1">
                <a:solidFill>
                  <a:srgbClr val="213E7F"/>
                </a:solidFill>
              </a:rPr>
              <a:t>foreach</a:t>
            </a:r>
            <a:r>
              <a:rPr lang="en-GB" sz="1400" dirty="0">
                <a:solidFill>
                  <a:srgbClr val="213E7F"/>
                </a:solidFill>
              </a:rPr>
              <a:t> method we defined</a:t>
            </a:r>
          </a:p>
        </p:txBody>
      </p:sp>
      <p:sp>
        <p:nvSpPr>
          <p:cNvPr id="19" name="Rounded Rectangular Callout 18"/>
          <p:cNvSpPr/>
          <p:nvPr/>
        </p:nvSpPr>
        <p:spPr>
          <a:xfrm>
            <a:off x="3958912" y="4269441"/>
            <a:ext cx="5125478" cy="616678"/>
          </a:xfrm>
          <a:prstGeom prst="wedgeRoundRectCallout">
            <a:avLst>
              <a:gd name="adj1" fmla="val -54723"/>
              <a:gd name="adj2" fmla="val -38221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Another example usage of </a:t>
            </a:r>
            <a:r>
              <a:rPr lang="en-GB" sz="1200" dirty="0" err="1">
                <a:solidFill>
                  <a:srgbClr val="213E7F"/>
                </a:solidFill>
              </a:rPr>
              <a:t>foreach</a:t>
            </a:r>
            <a:r>
              <a:rPr lang="en-GB" sz="1200" dirty="0">
                <a:solidFill>
                  <a:srgbClr val="213E7F"/>
                </a:solidFill>
              </a:rPr>
              <a:t>, indirectly this time, as we access </a:t>
            </a:r>
            <a:r>
              <a:rPr lang="en-GB" sz="1200" dirty="0" err="1">
                <a:solidFill>
                  <a:srgbClr val="213E7F"/>
                </a:solidFill>
              </a:rPr>
              <a:t>Traversable.head</a:t>
            </a:r>
            <a:r>
              <a:rPr lang="en-GB" sz="1200" dirty="0">
                <a:solidFill>
                  <a:srgbClr val="213E7F"/>
                </a:solidFill>
              </a:rPr>
              <a:t>, which invokes </a:t>
            </a:r>
            <a:r>
              <a:rPr lang="en-GB" sz="1200" dirty="0" err="1">
                <a:solidFill>
                  <a:srgbClr val="213E7F"/>
                </a:solidFill>
              </a:rPr>
              <a:t>foreach</a:t>
            </a:r>
            <a:r>
              <a:rPr lang="en-GB" sz="1200" dirty="0">
                <a:solidFill>
                  <a:srgbClr val="213E7F"/>
                </a:solidFill>
              </a:rPr>
              <a:t> for us. By extending Traversable we can access head and a range of other standard collection operations</a:t>
            </a:r>
            <a:endParaRPr lang="en-US" sz="1100" dirty="0">
              <a:solidFill>
                <a:srgbClr val="213E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51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Abstract clas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0959"/>
            <a:ext cx="8243888" cy="3832411"/>
          </a:xfrm>
        </p:spPr>
        <p:txBody>
          <a:bodyPr>
            <a:normAutofit fontScale="55000" lnSpcReduction="20000"/>
          </a:bodyPr>
          <a:lstStyle/>
          <a:p>
            <a:r>
              <a:rPr lang="en-US" sz="2900" noProof="0" dirty="0" smtClean="0"/>
              <a:t>An </a:t>
            </a:r>
            <a:r>
              <a:rPr lang="en-US" sz="2900" i="1" noProof="0" dirty="0" smtClean="0"/>
              <a:t>abstract </a:t>
            </a:r>
            <a:r>
              <a:rPr lang="en-US" sz="2900" noProof="0" dirty="0" smtClean="0"/>
              <a:t>class is a class designed to be extended by other classes but not instantiated itself</a:t>
            </a:r>
            <a:endParaRPr lang="en-US" noProof="0" dirty="0" smtClean="0"/>
          </a:p>
          <a:p>
            <a:pPr marL="400050" lvl="1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abstract class Car {</a:t>
            </a:r>
          </a:p>
          <a:p>
            <a:pPr marL="400050" lvl="1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year: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20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utomatic: Boolean = true</a:t>
            </a:r>
          </a:p>
          <a:p>
            <a:pPr marL="400050" lvl="1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lor: String</a:t>
            </a:r>
          </a:p>
          <a:p>
            <a:pPr marL="400050" lvl="1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ar</a:t>
            </a:r>
          </a:p>
          <a:p>
            <a:r>
              <a:rPr lang="en-US" sz="2900" noProof="0" dirty="0" smtClean="0"/>
              <a:t>First Implementation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Mini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year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extends Car {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lor = "Red"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Mini</a:t>
            </a:r>
            <a:endParaRPr lang="en-US" sz="2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: Car = new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Mini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005)</a:t>
            </a:r>
          </a:p>
          <a:p>
            <a:pPr marL="180975" lvl="1">
              <a:buFont typeface="Arial" panose="020B0604020202020204" pitchFamily="34" charset="0"/>
              <a:buChar char="•"/>
            </a:pPr>
            <a:r>
              <a:rPr lang="en-US" sz="2900" noProof="0" dirty="0" smtClean="0"/>
              <a:t>Best implementation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Mini(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year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lor: String) extends Car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Mini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Mini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Car = new Mini(2005, "Red")</a:t>
            </a:r>
          </a:p>
          <a:p>
            <a:pPr marL="400050" lvl="1" indent="0">
              <a:buNone/>
            </a:pP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Mini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Car = Mini@1f4dd016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Go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 ${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Mini.color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 Mini")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Got a Red Mini</a:t>
            </a:r>
            <a:endParaRPr lang="en-US" sz="22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8" name="Rounded Rectangular Callout 7"/>
          <p:cNvSpPr/>
          <p:nvPr/>
        </p:nvSpPr>
        <p:spPr>
          <a:xfrm>
            <a:off x="5799415" y="1378325"/>
            <a:ext cx="2961345" cy="927846"/>
          </a:xfrm>
          <a:prstGeom prst="wedgeRoundRectCallout">
            <a:avLst>
              <a:gd name="adj1" fmla="val -79815"/>
              <a:gd name="adj2" fmla="val 186340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400" dirty="0">
                <a:solidFill>
                  <a:srgbClr val="213E7F"/>
                </a:solidFill>
              </a:rPr>
              <a:t>you can implement a required method using a</a:t>
            </a:r>
          </a:p>
          <a:p>
            <a:pPr lvl="0"/>
            <a:r>
              <a:rPr lang="en-GB" sz="1400" dirty="0">
                <a:solidFill>
                  <a:srgbClr val="213E7F"/>
                </a:solidFill>
              </a:rPr>
              <a:t>Value if the method is parentheses and parameter-free</a:t>
            </a:r>
          </a:p>
        </p:txBody>
      </p:sp>
    </p:spTree>
    <p:extLst>
      <p:ext uri="{BB962C8B-B14F-4D97-AF65-F5344CB8AC3E}">
        <p14:creationId xmlns:p14="http://schemas.microsoft.com/office/powerpoint/2010/main" val="417265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Anonymous Clas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0953"/>
            <a:ext cx="8243888" cy="3852582"/>
          </a:xfrm>
        </p:spPr>
        <p:txBody>
          <a:bodyPr>
            <a:normAutofit lnSpcReduction="10000"/>
          </a:bodyPr>
          <a:lstStyle/>
          <a:p>
            <a:r>
              <a:rPr lang="en-US" sz="2000" noProof="0" dirty="0" err="1" smtClean="0"/>
              <a:t>Javascript</a:t>
            </a:r>
            <a:r>
              <a:rPr lang="en-US" sz="2000" noProof="0" dirty="0" smtClean="0"/>
              <a:t> style: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abstract class Listener {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rigger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Listener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Listening {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istener: Listener = null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gister(l: Listener) { listener = l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ndNotification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{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stener.trigger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Listening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otification = new Listening()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otification: Listening = Listening@66596c4c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otification.register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Listener {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rigger {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Trigger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t ${new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util.Dat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")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)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otification.sendNotification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rigger at Fri Jan 24 13:15:32 PDT 2014</a:t>
            </a:r>
            <a:endParaRPr lang="en-US" sz="14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044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Field and Method Typ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2560" y="1119187"/>
            <a:ext cx="8733864" cy="3362325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Overloaded Methods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Printer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) {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int(s: String): Unit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"$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$s"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int(l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String]): Unit = print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.mkString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, ")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Printer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new Printer("Today's Report").print("Foggy" :: "Rainy" :: Nil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oday's Report: Foggy, Rainy, Hot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36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Field and Method Types - Apply Method 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74059"/>
            <a:ext cx="8243888" cy="3906370"/>
          </a:xfrm>
        </p:spPr>
        <p:txBody>
          <a:bodyPr>
            <a:normAutofit/>
          </a:bodyPr>
          <a:lstStyle/>
          <a:p>
            <a:r>
              <a:rPr lang="en-US" b="1" noProof="0" dirty="0" smtClean="0"/>
              <a:t>Apply Method</a:t>
            </a:r>
            <a:r>
              <a:rPr lang="en-US" noProof="0" dirty="0" smtClean="0"/>
              <a:t> can be invoked without the method name. </a:t>
            </a:r>
          </a:p>
          <a:p>
            <a:r>
              <a:rPr lang="en-US" noProof="0" dirty="0" smtClean="0"/>
              <a:t>It’s the default method of a class  (invoked with () 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Multiplier(factor: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pply(input: </a:t>
            </a: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input * factor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Multiplier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M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new Multiplier(3)</a:t>
            </a:r>
          </a:p>
          <a:p>
            <a:pPr marL="400050" lvl="1" indent="0">
              <a:buNone/>
            </a:pP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M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Multiplier = Multiplier@339cde4b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ripled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Me.apply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0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ripled: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30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ripled2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M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0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ripled2: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30</a:t>
            </a:r>
          </a:p>
          <a:p>
            <a:r>
              <a:rPr lang="en-US" b="1" noProof="0" dirty="0" smtClean="0"/>
              <a:t>In lists the syntax for retrieving an element by its index uses the </a:t>
            </a:r>
            <a:r>
              <a:rPr lang="en-US" b="1" noProof="0" dirty="0" err="1" smtClean="0"/>
              <a:t>List.apply</a:t>
            </a:r>
            <a:r>
              <a:rPr lang="en-US" b="1" noProof="0" dirty="0" smtClean="0"/>
              <a:t> method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 = List('a', 'b', 'c'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: List[Char] = List(a, b, c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haracter = l(1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haracter: Char = b</a:t>
            </a:r>
            <a:endParaRPr lang="en-US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22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Field and Method Types – Lazy Valu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7677"/>
            <a:ext cx="8243888" cy="3872752"/>
          </a:xfrm>
        </p:spPr>
        <p:txBody>
          <a:bodyPr>
            <a:normAutofit lnSpcReduction="10000"/>
          </a:bodyPr>
          <a:lstStyle/>
          <a:p>
            <a:r>
              <a:rPr lang="en-US" sz="1800" b="1" dirty="0"/>
              <a:t>L</a:t>
            </a:r>
            <a:r>
              <a:rPr lang="en-US" sz="1800" b="1" noProof="0" dirty="0" err="1" smtClean="0"/>
              <a:t>azy</a:t>
            </a:r>
            <a:r>
              <a:rPr lang="en-US" sz="1800" b="1" noProof="0" dirty="0" smtClean="0"/>
              <a:t> value</a:t>
            </a:r>
            <a:r>
              <a:rPr lang="en-US" sz="1800" noProof="0" dirty="0" smtClean="0"/>
              <a:t> expression is executed when the value is invoked, but </a:t>
            </a:r>
            <a:r>
              <a:rPr lang="en-US" sz="1800" b="1" noProof="0" dirty="0" smtClean="0"/>
              <a:t>only the very first time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andomPo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{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creating x")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next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az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y = {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now y")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next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andomPoint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 = new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andomPo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reating x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andomPo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RandomPoint@6c225adb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Locatio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s ${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.x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, ${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.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"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ow y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ocation is 2019268581, -806862774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Locatio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s ${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.x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, ${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.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"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ocation is 2019268581, -806862774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45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Packaging (1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33719"/>
            <a:ext cx="8243888" cy="3899646"/>
          </a:xfrm>
        </p:spPr>
        <p:txBody>
          <a:bodyPr>
            <a:normAutofit/>
          </a:bodyPr>
          <a:lstStyle/>
          <a:p>
            <a:r>
              <a:rPr lang="en-US" sz="2200" noProof="0" dirty="0" smtClean="0"/>
              <a:t>System for code organization like Java</a:t>
            </a:r>
          </a:p>
          <a:p>
            <a:pPr marL="0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ackage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.netflix.utilities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0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stores classes under com/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tflis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utilities directory</a:t>
            </a:r>
          </a:p>
          <a:p>
            <a:r>
              <a:rPr lang="en-US" sz="2200" noProof="0" dirty="0" smtClean="0"/>
              <a:t>Accessing Packaged classes:</a:t>
            </a:r>
          </a:p>
          <a:p>
            <a:pPr lvl="1"/>
            <a:r>
              <a:rPr lang="en-US" sz="1800" noProof="0" dirty="0" smtClean="0"/>
              <a:t>Full qualified name: </a:t>
            </a:r>
          </a:p>
          <a:p>
            <a:pPr marL="857250" lvl="3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d = new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util.Date</a:t>
            </a:r>
            <a:endParaRPr lang="en-US" sz="19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en-US" sz="1800" noProof="0" dirty="0" smtClean="0"/>
              <a:t>Import them (from anywhere of code)</a:t>
            </a:r>
          </a:p>
          <a:p>
            <a:pPr marL="857250" lvl="3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import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util.Date</a:t>
            </a:r>
            <a:endParaRPr lang="en-US" sz="19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57250" lvl="3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util.Date</a:t>
            </a:r>
            <a:endParaRPr lang="en-US" sz="19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57250" lvl="3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d = new Date</a:t>
            </a:r>
          </a:p>
          <a:p>
            <a:pPr marL="857250" lvl="3" indent="0">
              <a:buNone/>
            </a:pPr>
            <a:endParaRPr lang="en-US" sz="13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endParaRPr lang="en-US" noProof="0" dirty="0" smtClean="0"/>
          </a:p>
          <a:p>
            <a:pPr lvl="1"/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518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Packaging (2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33719"/>
            <a:ext cx="8243888" cy="3899646"/>
          </a:xfrm>
        </p:spPr>
        <p:txBody>
          <a:bodyPr>
            <a:normAutofit fontScale="92500" lnSpcReduction="10000"/>
          </a:bodyPr>
          <a:lstStyle/>
          <a:p>
            <a:r>
              <a:rPr lang="en-US" sz="2200" noProof="0" dirty="0" smtClean="0"/>
              <a:t>Accessing Packaged classes:</a:t>
            </a:r>
          </a:p>
          <a:p>
            <a:pPr lvl="1"/>
            <a:r>
              <a:rPr lang="en-US" sz="1500" noProof="0" dirty="0" smtClean="0"/>
              <a:t>Import the entire contents of a package with _</a:t>
            </a:r>
          </a:p>
          <a:p>
            <a:pPr marL="857250" lvl="3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import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lection.mut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_</a:t>
            </a:r>
          </a:p>
          <a:p>
            <a:pPr marL="857250" lvl="3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lection.mut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_</a:t>
            </a:r>
          </a:p>
          <a:p>
            <a:pPr marL="857250" lvl="3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 = new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rrayBuff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String]</a:t>
            </a:r>
          </a:p>
          <a:p>
            <a:pPr marL="857250" lvl="3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b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mutable.ArrayBuff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String]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rrayBuff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lvl="1"/>
            <a:r>
              <a:rPr lang="en-US" sz="1500" noProof="0" dirty="0" smtClean="0"/>
              <a:t>To avoid importing full package you can use groups</a:t>
            </a:r>
          </a:p>
          <a:p>
            <a:pPr marL="857250" lvl="3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import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lection.mut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{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Queue,ArrayBuff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857250" lvl="3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lection.muta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{Queue,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rrayBuff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857250" lvl="3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q = new Queue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lvl="1"/>
            <a:r>
              <a:rPr lang="en-US" sz="1500" noProof="0" dirty="0" smtClean="0"/>
              <a:t>Import Alias (to avoid name conflicts)</a:t>
            </a:r>
          </a:p>
          <a:p>
            <a:pPr marL="857250" lvl="3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import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lection.mutable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{</a:t>
            </a:r>
            <a:r>
              <a:rPr lang="en-US" sz="15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p=&gt;</a:t>
            </a:r>
            <a:r>
              <a:rPr lang="en-US" sz="15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utMap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857250" lvl="3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lection.mutable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{Map=&gt;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utMap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857250" lvl="3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1 = Map(1 -&gt; 2)</a:t>
            </a:r>
          </a:p>
          <a:p>
            <a:pPr marL="857250" lvl="3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1: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immutable.Map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,Int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Map(1 -&gt; 2)</a:t>
            </a:r>
          </a:p>
          <a:p>
            <a:pPr marL="857250" lvl="3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2 =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utMap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 -&gt; 3)</a:t>
            </a:r>
          </a:p>
          <a:p>
            <a:pPr marL="857250" lvl="3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2: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mutable.Map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,Int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Map(2 -&gt; 3)</a:t>
            </a:r>
          </a:p>
          <a:p>
            <a:pPr marL="857250" lvl="3" indent="0">
              <a:buNone/>
            </a:pPr>
            <a:endParaRPr lang="en-US" sz="13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endParaRPr lang="en-US" noProof="0" dirty="0" smtClean="0"/>
          </a:p>
          <a:p>
            <a:pPr lvl="1"/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ivacy Control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4"/>
            <a:ext cx="8243888" cy="3926541"/>
          </a:xfrm>
        </p:spPr>
        <p:txBody>
          <a:bodyPr>
            <a:normAutofit lnSpcReduction="10000"/>
          </a:bodyPr>
          <a:lstStyle/>
          <a:p>
            <a:r>
              <a:rPr lang="en-US" noProof="0" dirty="0" smtClean="0"/>
              <a:t>By default, Scala </a:t>
            </a:r>
            <a:r>
              <a:rPr lang="en-US" b="1" noProof="0" dirty="0" smtClean="0"/>
              <a:t>does not add privacy controls</a:t>
            </a:r>
            <a:r>
              <a:rPr lang="en-US" noProof="0" dirty="0" smtClean="0"/>
              <a:t>. Any class you write will be instantiable and its fields and methods accessible by any other code</a:t>
            </a:r>
          </a:p>
          <a:p>
            <a:r>
              <a:rPr lang="en-US" noProof="0" dirty="0" smtClean="0"/>
              <a:t>To </a:t>
            </a:r>
            <a:r>
              <a:rPr lang="en-US" b="1" noProof="0" dirty="0" smtClean="0"/>
              <a:t>add privacy controls</a:t>
            </a:r>
            <a:r>
              <a:rPr lang="en-US" noProof="0" dirty="0" smtClean="0"/>
              <a:t>, such </a:t>
            </a:r>
            <a:r>
              <a:rPr lang="en-US" b="1" noProof="0" dirty="0" smtClean="0"/>
              <a:t>as mutable state </a:t>
            </a:r>
            <a:r>
              <a:rPr lang="en-US" noProof="0" dirty="0" smtClean="0"/>
              <a:t>that should only be handled inside the class:</a:t>
            </a:r>
          </a:p>
          <a:p>
            <a:pPr lvl="1"/>
            <a:r>
              <a:rPr lang="en-US" b="1" noProof="0" dirty="0" smtClean="0"/>
              <a:t>protected</a:t>
            </a:r>
            <a:r>
              <a:rPr lang="en-US" noProof="0" dirty="0" smtClean="0"/>
              <a:t>: limits the access of fields and methods to the same class or its subclasses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User { protected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ssw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nextString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0) }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User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idUser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extends User {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Vali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!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sswd.isEmpty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idUser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Vali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new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idUser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Valid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00100" lvl="2" indent="0">
              <a:buNone/>
            </a:pP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Vali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Boolean = true</a:t>
            </a:r>
          </a:p>
          <a:p>
            <a:pPr marL="800100" lvl="2" indent="0">
              <a:buNone/>
            </a:pP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en-US" b="1" noProof="0" dirty="0" smtClean="0"/>
              <a:t>private</a:t>
            </a:r>
            <a:r>
              <a:rPr lang="en-US" noProof="0" dirty="0" smtClean="0"/>
              <a:t>: limits the access of fields and methods to the same class which they are defined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User(private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assword: String) {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update(p: String) {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Modifying the password!")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password = p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validate(p: String) = p == password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User</a:t>
            </a:r>
            <a:endParaRPr lang="en-US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0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Final and Sealed Clas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77993"/>
            <a:ext cx="8243888" cy="3573837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The protected and private access controls and their modifiers can limit access to a class or its members overall or based on location. However, they lack the ability to restrict creating subclasses.</a:t>
            </a:r>
          </a:p>
          <a:p>
            <a:r>
              <a:rPr lang="en-US" sz="1800" b="1" i="1" noProof="0" dirty="0" smtClean="0"/>
              <a:t>Final </a:t>
            </a:r>
            <a:r>
              <a:rPr lang="en-US" sz="1800" b="1" noProof="0" dirty="0" smtClean="0"/>
              <a:t>class </a:t>
            </a:r>
            <a:r>
              <a:rPr lang="en-US" sz="1800" noProof="0" dirty="0" smtClean="0"/>
              <a:t>members can never be overridden in subclasses. Marking a value, variable, or method with the </a:t>
            </a:r>
            <a:r>
              <a:rPr lang="en-US" sz="1800" b="1" noProof="0" dirty="0" smtClean="0"/>
              <a:t>final</a:t>
            </a:r>
            <a:r>
              <a:rPr lang="en-US" sz="1800" noProof="0" dirty="0" smtClean="0"/>
              <a:t> keyword ensures that the implementation is the one that all.</a:t>
            </a:r>
          </a:p>
          <a:p>
            <a:r>
              <a:rPr lang="en-US" sz="1800" noProof="0" dirty="0" smtClean="0"/>
              <a:t>Entire classes can be marked as </a:t>
            </a:r>
            <a:r>
              <a:rPr lang="en-US" sz="1800" b="1" noProof="0" dirty="0" smtClean="0"/>
              <a:t>final</a:t>
            </a:r>
            <a:r>
              <a:rPr lang="en-US" sz="1800" noProof="0" dirty="0" smtClean="0"/>
              <a:t> as well, preventing any possible subclasses of that class</a:t>
            </a:r>
          </a:p>
          <a:p>
            <a:r>
              <a:rPr lang="en-US" sz="1800" b="1" noProof="0" dirty="0" smtClean="0"/>
              <a:t>Sealed</a:t>
            </a:r>
            <a:r>
              <a:rPr lang="en-US" sz="1800" noProof="0" dirty="0" smtClean="0"/>
              <a:t> classes restrict the subclasses of a class </a:t>
            </a:r>
            <a:r>
              <a:rPr lang="en-US" sz="1800" b="1" noProof="0" dirty="0" smtClean="0"/>
              <a:t>to being located in the same file</a:t>
            </a:r>
            <a:r>
              <a:rPr lang="en-US" sz="1800" noProof="0" dirty="0" smtClean="0"/>
              <a:t> as the parent class. By sealing a class, you can write code that makes safe assumptions about its hierarchy. Classes are sealed by prefixing the class definition and class keyword with the </a:t>
            </a:r>
            <a:r>
              <a:rPr lang="en-US" sz="1800" b="1" noProof="0" dirty="0" smtClean="0"/>
              <a:t>sealed</a:t>
            </a:r>
            <a:r>
              <a:rPr lang="en-US" sz="1800" noProof="0" dirty="0" smtClean="0"/>
              <a:t> keyword.</a:t>
            </a:r>
            <a:endParaRPr lang="en-US" sz="18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708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1846659"/>
          </a:xfrm>
        </p:spPr>
        <p:txBody>
          <a:bodyPr/>
          <a:lstStyle/>
          <a:p>
            <a:r>
              <a:rPr lang="en-US" noProof="0" dirty="0"/>
              <a:t>3</a:t>
            </a:r>
            <a:r>
              <a:rPr lang="en-US" noProof="0" dirty="0" smtClean="0"/>
              <a:t>. </a:t>
            </a:r>
            <a:r>
              <a:rPr lang="en-US" dirty="0"/>
              <a:t>Data: Literals, Values, Variables &amp; </a:t>
            </a:r>
            <a:r>
              <a:rPr lang="en-US" dirty="0" smtClean="0"/>
              <a:t>Types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8579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Exerci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8"/>
            <a:ext cx="8243888" cy="474288"/>
          </a:xfrm>
        </p:spPr>
        <p:txBody>
          <a:bodyPr>
            <a:noAutofit/>
          </a:bodyPr>
          <a:lstStyle/>
          <a:p>
            <a:r>
              <a:rPr lang="en-US" sz="3200" b="1" noProof="0" dirty="0" smtClean="0"/>
              <a:t>Exercise 8 – Classes</a:t>
            </a:r>
          </a:p>
          <a:p>
            <a:pPr marL="0" indent="0">
              <a:buNone/>
            </a:pPr>
            <a:endParaRPr lang="en-US" sz="32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53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1231106"/>
          </a:xfrm>
        </p:spPr>
        <p:txBody>
          <a:bodyPr/>
          <a:lstStyle/>
          <a:p>
            <a:r>
              <a:rPr lang="en-US" dirty="0" smtClean="0"/>
              <a:t>10. </a:t>
            </a:r>
            <a:r>
              <a:rPr lang="en-US" dirty="0"/>
              <a:t>Objects, Case Classes &amp; Traits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2321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Objects (1/4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8" y="860612"/>
            <a:ext cx="3691264" cy="3620901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A type of class with just one instance (singleton)</a:t>
            </a:r>
          </a:p>
          <a:p>
            <a:r>
              <a:rPr lang="en-US" sz="1800" noProof="0" dirty="0" smtClean="0"/>
              <a:t>Until it is accessed the first time it won’t get instantiated</a:t>
            </a:r>
          </a:p>
          <a:p>
            <a:r>
              <a:rPr lang="en-US" sz="1800" noProof="0" dirty="0" smtClean="0"/>
              <a:t>An object can extend another class, making its fields and methods available in a global instance. The reverse is not true</a:t>
            </a:r>
          </a:p>
          <a:p>
            <a:r>
              <a:rPr lang="en-US" sz="1800" noProof="0" dirty="0" smtClean="0">
                <a:cs typeface="ＭＳ Ｐゴシック" charset="0"/>
              </a:rPr>
              <a:t>Objects can be used to provide pure functions (only depending on the input) as utiliti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gray">
          <a:xfrm>
            <a:off x="4215232" y="860612"/>
            <a:ext cx="4827915" cy="3832412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/>
              <a:t>--object </a:t>
            </a:r>
          </a:p>
          <a:p>
            <a:pPr marL="0" indent="0">
              <a:buNone/>
            </a:pP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object Hello {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Hello");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i = "hi" }</a:t>
            </a:r>
            <a:endParaRPr lang="en-US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object Hello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ello.hi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ello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i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ello.hi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i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- </a:t>
            </a:r>
            <a:r>
              <a:rPr lang="en-US" dirty="0" smtClean="0">
                <a:cs typeface="ＭＳ Ｐゴシック" charset="0"/>
              </a:rPr>
              <a:t>pure functions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object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tmlUtils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moveMarkup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input: String) = {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input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placeAll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""&lt;/?\w[^&gt;]*&gt;""","")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.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placeAll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&lt;.*&gt;","")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tml = "&lt;html&gt;Intro&lt;/html&gt;“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ext =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tmlUtils.removeMarkup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html)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ext: String = Introduction</a:t>
            </a:r>
          </a:p>
          <a:p>
            <a:pPr marL="400050" lvl="1" indent="0">
              <a:buFont typeface="Wingdings" panose="05000000000000000000" pitchFamily="2" charset="2"/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728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Objects (2/4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64546"/>
            <a:ext cx="8243888" cy="3762095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An Object can not take class parameters but it can use:</a:t>
            </a:r>
          </a:p>
          <a:p>
            <a:pPr lvl="1"/>
            <a:r>
              <a:rPr lang="en-US" sz="1600" b="1" noProof="0" dirty="0" smtClean="0"/>
              <a:t>apply() </a:t>
            </a:r>
            <a:r>
              <a:rPr lang="en-US" sz="1600" noProof="0" dirty="0" smtClean="0"/>
              <a:t>method: Makes it </a:t>
            </a:r>
            <a:r>
              <a:rPr lang="en-US" sz="1600" noProof="0" dirty="0" err="1" smtClean="0"/>
              <a:t>posible</a:t>
            </a:r>
            <a:r>
              <a:rPr lang="en-US" sz="1600" noProof="0" dirty="0" smtClean="0"/>
              <a:t> to invoke an object by name like List (1,2,3) </a:t>
            </a:r>
            <a:r>
              <a:rPr lang="en-US" sz="1600" noProof="0" dirty="0" err="1" smtClean="0"/>
              <a:t>wich</a:t>
            </a:r>
            <a:r>
              <a:rPr lang="en-US" sz="1600" noProof="0" dirty="0" smtClean="0"/>
              <a:t> is really an object.</a:t>
            </a:r>
          </a:p>
          <a:p>
            <a:r>
              <a:rPr lang="en-US" sz="1800" noProof="0" dirty="0" smtClean="0"/>
              <a:t>List object has an apply() that takes arguments and returns a new collection from them.</a:t>
            </a:r>
          </a:p>
          <a:p>
            <a:r>
              <a:rPr lang="en-US" sz="1800" noProof="0" dirty="0" smtClean="0"/>
              <a:t>This is known a </a:t>
            </a:r>
            <a:r>
              <a:rPr lang="en-US" sz="1800" b="1" noProof="0" dirty="0" smtClean="0"/>
              <a:t>factory pattern</a:t>
            </a:r>
            <a:r>
              <a:rPr lang="en-US" sz="1800" noProof="0" dirty="0" smtClean="0"/>
              <a:t>. A popular way to generate new instances of class from its </a:t>
            </a:r>
            <a:r>
              <a:rPr lang="en-US" sz="1800" b="1" noProof="0" dirty="0" smtClean="0"/>
              <a:t>companion object</a:t>
            </a:r>
          </a:p>
          <a:p>
            <a:r>
              <a:rPr lang="en-US" sz="1800" noProof="0" dirty="0" smtClean="0"/>
              <a:t>A </a:t>
            </a:r>
            <a:r>
              <a:rPr lang="en-US" sz="1800" b="1" noProof="0" dirty="0" smtClean="0"/>
              <a:t>companion object </a:t>
            </a:r>
            <a:r>
              <a:rPr lang="en-US" sz="1800" noProof="0" dirty="0" smtClean="0"/>
              <a:t>is an object that shares the same name as a class and is defined together in the same file as the class</a:t>
            </a:r>
          </a:p>
          <a:p>
            <a:r>
              <a:rPr lang="en-US" sz="1800" b="1" noProof="0" dirty="0" smtClean="0"/>
              <a:t>Companion objects </a:t>
            </a:r>
            <a:r>
              <a:rPr lang="en-US" sz="1800" noProof="0" dirty="0" smtClean="0"/>
              <a:t>and classes are considered a </a:t>
            </a:r>
            <a:r>
              <a:rPr lang="en-US" sz="1800" b="1" noProof="0" dirty="0" smtClean="0"/>
              <a:t>single unit in terms of access controls</a:t>
            </a:r>
            <a:r>
              <a:rPr lang="en-US" sz="1800" noProof="0" dirty="0" smtClean="0"/>
              <a:t>, so they can access each other’s private and protected fields and methods.</a:t>
            </a:r>
            <a:endParaRPr lang="en-US" sz="3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29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Objects (3/4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8214" y="1237014"/>
            <a:ext cx="4128292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lass Multiplier(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 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oduct(y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x * y 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}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object Multiplier {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pply(x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| = new Multiplier(x) }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Exiting paste mode, now interpreting.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Multiplier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object Multiplier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r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Multiplier(3)</a:t>
            </a:r>
          </a:p>
          <a:p>
            <a:pPr marL="0" indent="0">
              <a:buNone/>
            </a:pP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r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Multiplier = Multiplier@5af28b27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sult =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r.produc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3)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ult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39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748748" y="914284"/>
            <a:ext cx="4072523" cy="29669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20000"/>
              </a:spcBef>
              <a:spcAft>
                <a:spcPct val="20000"/>
              </a:spcAft>
              <a:buClr>
                <a:schemeClr val="accent1"/>
              </a:buClr>
              <a:buSzPct val="120000"/>
              <a:tabLst>
                <a:tab pos="1527175" algn="l"/>
              </a:tabLst>
            </a:pPr>
            <a:r>
              <a:rPr lang="es-ES" sz="1400" dirty="0" err="1" smtClean="0">
                <a:ea typeface="ＭＳ Ｐゴシック" pitchFamily="34" charset="-128"/>
                <a:cs typeface="ＭＳ Ｐゴシック" charset="0"/>
              </a:rPr>
              <a:t>Same</a:t>
            </a:r>
            <a:r>
              <a:rPr lang="es-ES" sz="1400" dirty="0" smtClean="0">
                <a:ea typeface="ＭＳ Ｐゴシック" pitchFamily="34" charset="-128"/>
                <a:cs typeface="ＭＳ Ｐゴシック" charset="0"/>
              </a:rPr>
              <a:t> </a:t>
            </a:r>
            <a:r>
              <a:rPr lang="es-ES" sz="1400" dirty="0" err="1" smtClean="0">
                <a:ea typeface="ＭＳ Ｐゴシック" pitchFamily="34" charset="-128"/>
                <a:cs typeface="ＭＳ Ｐゴシック" charset="0"/>
              </a:rPr>
              <a:t>class</a:t>
            </a:r>
            <a:r>
              <a:rPr lang="es-ES" sz="1400" dirty="0" smtClean="0">
                <a:ea typeface="ＭＳ Ｐゴシック" pitchFamily="34" charset="-128"/>
                <a:cs typeface="ＭＳ Ｐゴシック" charset="0"/>
              </a:rPr>
              <a:t> </a:t>
            </a:r>
            <a:r>
              <a:rPr lang="es-ES" sz="1400" dirty="0" err="1" smtClean="0">
                <a:ea typeface="ＭＳ Ｐゴシック" pitchFamily="34" charset="-128"/>
                <a:cs typeface="ＭＳ Ｐゴシック" charset="0"/>
              </a:rPr>
              <a:t>without</a:t>
            </a:r>
            <a:r>
              <a:rPr lang="es-ES" sz="1400" dirty="0" smtClean="0">
                <a:ea typeface="ＭＳ Ｐゴシック" pitchFamily="34" charset="-128"/>
                <a:cs typeface="ＭＳ Ｐゴシック" charset="0"/>
              </a:rPr>
              <a:t> </a:t>
            </a:r>
            <a:r>
              <a:rPr lang="es-ES" sz="1400" dirty="0" err="1">
                <a:ea typeface="ＭＳ Ｐゴシック" pitchFamily="34" charset="-128"/>
                <a:cs typeface="ＭＳ Ｐゴシック" charset="0"/>
              </a:rPr>
              <a:t>companion</a:t>
            </a:r>
            <a:r>
              <a:rPr lang="es-ES" sz="1400" dirty="0">
                <a:ea typeface="ＭＳ Ｐゴシック" pitchFamily="34" charset="-128"/>
                <a:cs typeface="ＭＳ Ｐゴシック" charset="0"/>
              </a:rPr>
              <a:t> </a:t>
            </a:r>
            <a:r>
              <a:rPr lang="es-ES" sz="1400" dirty="0" err="1">
                <a:ea typeface="ＭＳ Ｐゴシック" pitchFamily="34" charset="-128"/>
                <a:cs typeface="ＭＳ Ｐゴシック" charset="0"/>
              </a:rPr>
              <a:t>object</a:t>
            </a:r>
            <a:endParaRPr lang="en-GB" sz="1400" dirty="0">
              <a:ea typeface="ＭＳ Ｐゴシック" pitchFamily="34" charset="-128"/>
              <a:cs typeface="ＭＳ Ｐゴシック" charset="0"/>
            </a:endParaRPr>
          </a:p>
          <a:p>
            <a:pPr indent="-57150">
              <a:spcBef>
                <a:spcPts val="600"/>
              </a:spcBef>
            </a:pPr>
            <a:r>
              <a:rPr lang="en-GB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 class Multiplier(factor: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indent="-57150">
              <a:spcBef>
                <a:spcPts val="600"/>
              </a:spcBef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apply(input: </a:t>
            </a:r>
            <a:r>
              <a:rPr lang="en-GB" sz="1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= input * factor</a:t>
            </a:r>
          </a:p>
          <a:p>
            <a:pPr indent="-57150">
              <a:spcBef>
                <a:spcPts val="600"/>
              </a:spcBef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indent="-57150">
              <a:spcBef>
                <a:spcPts val="600"/>
              </a:spcBef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defined class Multiplier</a:t>
            </a:r>
          </a:p>
          <a:p>
            <a:pPr indent="-57150">
              <a:spcBef>
                <a:spcPts val="600"/>
              </a:spcBef>
            </a:pP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ipleM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= new Multiplier(3)</a:t>
            </a:r>
          </a:p>
          <a:p>
            <a:pPr indent="-57150">
              <a:spcBef>
                <a:spcPts val="600"/>
              </a:spcBef>
            </a:pP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ipleM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Multiplier = Multiplier@339cde4b</a:t>
            </a:r>
          </a:p>
          <a:p>
            <a:pPr indent="-57150">
              <a:spcBef>
                <a:spcPts val="600"/>
              </a:spcBef>
            </a:pP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tripled =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ipleMe.apply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10)</a:t>
            </a:r>
          </a:p>
          <a:p>
            <a:pPr indent="-57150">
              <a:spcBef>
                <a:spcPts val="600"/>
              </a:spcBef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tripled: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= 30</a:t>
            </a:r>
          </a:p>
          <a:p>
            <a:pPr indent="-57150">
              <a:spcBef>
                <a:spcPts val="600"/>
              </a:spcBef>
            </a:pP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tripled2 =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ipleM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10)</a:t>
            </a:r>
          </a:p>
          <a:p>
            <a:pPr indent="-57150">
              <a:spcBef>
                <a:spcPts val="600"/>
              </a:spcBef>
            </a:pP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tripled2: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= 30</a:t>
            </a:r>
          </a:p>
        </p:txBody>
      </p:sp>
    </p:spTree>
    <p:extLst>
      <p:ext uri="{BB962C8B-B14F-4D97-AF65-F5344CB8AC3E}">
        <p14:creationId xmlns:p14="http://schemas.microsoft.com/office/powerpoint/2010/main" val="151318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Objects (4/4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5"/>
            <a:ext cx="8243888" cy="3933265"/>
          </a:xfrm>
        </p:spPr>
        <p:txBody>
          <a:bodyPr>
            <a:normAutofit fontScale="92500" lnSpcReduction="10000"/>
          </a:bodyPr>
          <a:lstStyle/>
          <a:p>
            <a:r>
              <a:rPr lang="en-US" sz="1800" noProof="0" dirty="0" smtClean="0"/>
              <a:t>Special access controls that companion object shares with its companion class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object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Connection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private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_ur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dbc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//localhost"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private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_user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ranken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private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_pass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berry"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pply() = new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Connection</a:t>
            </a:r>
            <a:endParaRPr lang="en-US" sz="15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lass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Connection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private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ops = Map(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"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r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 -&gt;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Connection.db_ur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"user" -&gt;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Connection.db_user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"pass" -&gt;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Connection.db_pass</a:t>
            </a:r>
            <a:endParaRPr lang="en-US" sz="15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)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Created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ew connection for " + props("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r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)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nn =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Connection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reated new connection for jdbc://localhost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onn: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BConnection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DBConnection@4d27d9d</a:t>
            </a:r>
            <a:endParaRPr lang="en-US" sz="15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890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noProof="0" dirty="0" smtClean="0"/>
              <a:t>Command-Line Applications with Object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7677"/>
            <a:ext cx="8243888" cy="3573836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Special </a:t>
            </a:r>
            <a:r>
              <a:rPr lang="en-US" sz="2000" b="1" noProof="0" dirty="0" smtClean="0"/>
              <a:t>main</a:t>
            </a:r>
            <a:r>
              <a:rPr lang="en-US" sz="2000" noProof="0" dirty="0" smtClean="0"/>
              <a:t> method in Object as the entry point for the application: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cat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t.scala</a:t>
            </a: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object Cat {</a:t>
            </a:r>
          </a:p>
          <a:p>
            <a:pPr marL="400050" lvl="1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in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Array[String]) {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or 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rg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&lt;-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400050" lvl="1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o.Source.fromFile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rg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kString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c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t.scala</a:t>
            </a: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$ scala Cat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t.scala</a:t>
            </a:r>
            <a:endParaRPr lang="en-US" sz="18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1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Case Classes (1/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3" y="836799"/>
            <a:ext cx="8566989" cy="3748648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A </a:t>
            </a:r>
            <a:r>
              <a:rPr lang="en-US" sz="2000" b="1" noProof="0" dirty="0" smtClean="0"/>
              <a:t>case class </a:t>
            </a:r>
            <a:r>
              <a:rPr lang="en-US" sz="2000" noProof="0" dirty="0" smtClean="0"/>
              <a:t>is an instantiable class that includes </a:t>
            </a:r>
            <a:r>
              <a:rPr lang="en-US" sz="2000" b="1" noProof="0" dirty="0" smtClean="0"/>
              <a:t>several automatically generated methods</a:t>
            </a:r>
            <a:r>
              <a:rPr lang="en-US" sz="2000" noProof="0" dirty="0" smtClean="0"/>
              <a:t>.</a:t>
            </a:r>
          </a:p>
          <a:p>
            <a:r>
              <a:rPr lang="en-US" sz="2000" noProof="0" dirty="0" smtClean="0"/>
              <a:t>It also includes an automatically generated companion object with its own automatically generated methods.</a:t>
            </a:r>
          </a:p>
          <a:p>
            <a:r>
              <a:rPr lang="en-US" sz="2000" noProof="0" dirty="0" smtClean="0"/>
              <a:t>Include </a:t>
            </a:r>
            <a:r>
              <a:rPr lang="en-US" sz="2000" b="1" noProof="0" dirty="0" smtClean="0"/>
              <a:t>equals</a:t>
            </a:r>
            <a:r>
              <a:rPr lang="en-US" sz="2000" noProof="0" dirty="0" smtClean="0"/>
              <a:t> implementation based on the fields</a:t>
            </a:r>
          </a:p>
          <a:p>
            <a:r>
              <a:rPr lang="en-US" sz="2000" noProof="0" dirty="0" smtClean="0"/>
              <a:t>A pretty print </a:t>
            </a:r>
            <a:r>
              <a:rPr lang="en-US" sz="2000" b="1" noProof="0" dirty="0" err="1" smtClean="0"/>
              <a:t>toString</a:t>
            </a:r>
            <a:endParaRPr lang="en-US" sz="2000" b="1" noProof="0" dirty="0" smtClean="0"/>
          </a:p>
          <a:p>
            <a:r>
              <a:rPr lang="en-US" sz="2000" noProof="0" dirty="0" smtClean="0"/>
              <a:t>Used for storing data (</a:t>
            </a:r>
            <a:r>
              <a:rPr lang="en-US" sz="2000" noProof="0" dirty="0" err="1" smtClean="0"/>
              <a:t>pojos</a:t>
            </a:r>
            <a:r>
              <a:rPr lang="en-US" sz="2000" noProof="0" dirty="0" smtClean="0"/>
              <a:t>)</a:t>
            </a:r>
          </a:p>
          <a:p>
            <a:r>
              <a:rPr lang="en-US" sz="2000" noProof="0" dirty="0" smtClean="0"/>
              <a:t>By default, case classes convert parameters to value fields so it isn’t necessary to prefix them with the </a:t>
            </a:r>
            <a:r>
              <a:rPr lang="en-US" sz="2000" noProof="0" dirty="0" err="1" smtClean="0"/>
              <a:t>val</a:t>
            </a:r>
            <a:r>
              <a:rPr lang="en-US" sz="2000" noProof="0" dirty="0" smtClean="0"/>
              <a:t> keyword. You can still use the </a:t>
            </a:r>
            <a:r>
              <a:rPr lang="en-US" sz="2000" noProof="0" dirty="0" err="1" smtClean="0"/>
              <a:t>var</a:t>
            </a:r>
            <a:r>
              <a:rPr lang="en-US" sz="2000" noProof="0" dirty="0" smtClean="0"/>
              <a:t> keyword if you need a variable field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71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Case Classes (2/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3" y="836799"/>
            <a:ext cx="8566989" cy="675995"/>
          </a:xfrm>
        </p:spPr>
        <p:txBody>
          <a:bodyPr>
            <a:normAutofit/>
          </a:bodyPr>
          <a:lstStyle/>
          <a:p>
            <a:r>
              <a:rPr lang="en-US" sz="2400" noProof="0" dirty="0" smtClean="0"/>
              <a:t>Automatically generated case class methods</a:t>
            </a:r>
            <a:endParaRPr lang="en-U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69" y="1586943"/>
            <a:ext cx="8361482" cy="2749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756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ase Classes (3/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680882"/>
            <a:ext cx="8243888" cy="1613647"/>
          </a:xfrm>
        </p:spPr>
        <p:txBody>
          <a:bodyPr>
            <a:normAutofit/>
          </a:bodyPr>
          <a:lstStyle/>
          <a:p>
            <a:r>
              <a:rPr lang="en-US" sz="2800" noProof="0" dirty="0" smtClean="0"/>
              <a:t>Use </a:t>
            </a:r>
            <a:r>
              <a:rPr lang="en-US" sz="2800" b="1" noProof="0" dirty="0" smtClean="0"/>
              <a:t>case classes </a:t>
            </a:r>
            <a:r>
              <a:rPr lang="en-US" sz="2800" noProof="0" dirty="0" smtClean="0"/>
              <a:t>over classes for data storage</a:t>
            </a:r>
          </a:p>
          <a:p>
            <a:r>
              <a:rPr lang="en-US" sz="2800" noProof="0" dirty="0" smtClean="0"/>
              <a:t>Use </a:t>
            </a:r>
            <a:r>
              <a:rPr lang="en-US" sz="2800" b="1" noProof="0" dirty="0" smtClean="0"/>
              <a:t>object and traits </a:t>
            </a:r>
            <a:r>
              <a:rPr lang="en-US" sz="2800" noProof="0" dirty="0" smtClean="0"/>
              <a:t>(see next) for writing functions over classes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62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Literals, Values, Variables &amp; Typ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4034"/>
            <a:ext cx="8243888" cy="3782266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A </a:t>
            </a:r>
            <a:r>
              <a:rPr lang="en-US" sz="2000" b="1" noProof="0" dirty="0" smtClean="0"/>
              <a:t>literal</a:t>
            </a:r>
            <a:r>
              <a:rPr lang="en-US" sz="2000" noProof="0" dirty="0" smtClean="0"/>
              <a:t> (or literal data) is data that appears directly in the source code, like the number </a:t>
            </a:r>
            <a:r>
              <a:rPr lang="en-US" sz="2000" b="1" noProof="0" dirty="0" smtClean="0"/>
              <a:t>5</a:t>
            </a:r>
            <a:r>
              <a:rPr lang="en-US" sz="2000" noProof="0" dirty="0" smtClean="0"/>
              <a:t>, the character  </a:t>
            </a:r>
            <a:r>
              <a:rPr lang="en-US" sz="2000" b="1" noProof="0" dirty="0" smtClean="0"/>
              <a:t>A</a:t>
            </a:r>
            <a:r>
              <a:rPr lang="en-US" sz="2000" noProof="0" dirty="0" smtClean="0"/>
              <a:t>, and the text </a:t>
            </a:r>
            <a:r>
              <a:rPr lang="en-US" sz="2000" b="1" noProof="0" dirty="0" smtClean="0"/>
              <a:t>“Hello, World.”</a:t>
            </a:r>
          </a:p>
          <a:p>
            <a:r>
              <a:rPr lang="en-US" sz="2000" noProof="0" dirty="0" smtClean="0"/>
              <a:t>A </a:t>
            </a:r>
            <a:r>
              <a:rPr lang="en-US" sz="2000" b="1" noProof="0" dirty="0" smtClean="0"/>
              <a:t>value</a:t>
            </a:r>
            <a:r>
              <a:rPr lang="en-US" sz="2000" noProof="0" dirty="0" smtClean="0"/>
              <a:t> is an immutable, typed storage unit. A value can be assigned data when it is defined, but it can never be reassigned.</a:t>
            </a:r>
          </a:p>
          <a:p>
            <a:endParaRPr lang="en-US" sz="2000" noProof="0" dirty="0" smtClean="0"/>
          </a:p>
          <a:p>
            <a:pPr marL="8001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20</a:t>
            </a:r>
          </a:p>
          <a:p>
            <a:pPr marL="8001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20</a:t>
            </a:r>
          </a:p>
          <a:p>
            <a:pPr marL="8001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reeting: String = "Hello, World"</a:t>
            </a:r>
          </a:p>
          <a:p>
            <a:pPr marL="8001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greeting: String = Hello, World</a:t>
            </a:r>
          </a:p>
          <a:p>
            <a:pPr marL="8001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tSymbo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Char = '@'</a:t>
            </a:r>
          </a:p>
          <a:p>
            <a:pPr marL="800100" lvl="2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tSymbo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Char = @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37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Case Classes – Examp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13547"/>
            <a:ext cx="8243888" cy="3913094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&gt; case class Character(name: String, </a:t>
            </a:r>
            <a:r>
              <a:rPr lang="en-US" sz="25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sThief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: Boolean) </a:t>
            </a:r>
          </a:p>
          <a:p>
            <a:pPr marL="0" indent="0">
              <a:buNone/>
            </a:pP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defined class Character</a:t>
            </a:r>
          </a:p>
          <a:p>
            <a:pPr marL="0" indent="0">
              <a:buNone/>
            </a:pP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5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 h = Character("Hadrian", true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	</a:t>
            </a:r>
          </a:p>
          <a:p>
            <a:pPr marL="0" indent="0">
              <a:buNone/>
            </a:pP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: Character = Character(</a:t>
            </a:r>
            <a:r>
              <a:rPr lang="en-US" sz="25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Hadrian,true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)	</a:t>
            </a:r>
          </a:p>
          <a:p>
            <a:pPr marL="0" indent="0">
              <a:buNone/>
            </a:pP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5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 r = </a:t>
            </a:r>
            <a:r>
              <a:rPr lang="en-US" sz="25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h.copy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(name = "Royce")	</a:t>
            </a: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					</a:t>
            </a:r>
          </a:p>
          <a:p>
            <a:pPr marL="0" indent="0">
              <a:buNone/>
            </a:pP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: Character = Character(</a:t>
            </a:r>
            <a:r>
              <a:rPr lang="en-US" sz="25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oyce,true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>
              <a:buNone/>
            </a:pP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h == r			</a:t>
            </a:r>
            <a:endParaRPr lang="en-US" sz="25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0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: Boolean = false</a:t>
            </a:r>
          </a:p>
          <a:p>
            <a:pPr marL="0" indent="0">
              <a:buNone/>
            </a:pPr>
            <a:r>
              <a:rPr lang="en-US" sz="25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&gt; h match {</a:t>
            </a:r>
          </a:p>
          <a:p>
            <a:pPr marL="0" indent="0">
              <a:buNone/>
            </a:pP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| case Character(x, true) =&gt; </a:t>
            </a:r>
            <a:r>
              <a:rPr lang="en-US" sz="25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"$x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 is a thief"</a:t>
            </a:r>
          </a:p>
          <a:p>
            <a:pPr marL="0" indent="0">
              <a:buNone/>
            </a:pP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| case Character(x, false) =&gt; </a:t>
            </a:r>
            <a:r>
              <a:rPr lang="en-US" sz="25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"$x</a:t>
            </a: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 is not a thief"</a:t>
            </a:r>
          </a:p>
          <a:p>
            <a:pPr marL="0" indent="0">
              <a:buNone/>
            </a:pP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buNone/>
            </a:pPr>
            <a:r>
              <a:rPr lang="en-US" sz="2500" dirty="0">
                <a:latin typeface="Courier New" panose="02070309020205020404" pitchFamily="49" charset="0"/>
                <a:cs typeface="Courier New" panose="02070309020205020404" pitchFamily="49" charset="0"/>
              </a:rPr>
              <a:t>res1: String = Hadrian is a thief</a:t>
            </a:r>
          </a:p>
          <a:p>
            <a:pPr marL="0" indent="0">
              <a:buNone/>
            </a:pPr>
            <a:endParaRPr lang="en-US" sz="19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6514584" y="1069040"/>
            <a:ext cx="2248650" cy="531159"/>
          </a:xfrm>
          <a:prstGeom prst="wedgeRoundRectCallout">
            <a:avLst>
              <a:gd name="adj1" fmla="val -91177"/>
              <a:gd name="adj2" fmla="val 21783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400" dirty="0" smtClean="0">
                <a:solidFill>
                  <a:srgbClr val="213E7F"/>
                </a:solidFill>
              </a:rPr>
              <a:t>Here the </a:t>
            </a:r>
            <a:r>
              <a:rPr lang="en-GB" sz="1400" b="1" dirty="0" smtClean="0">
                <a:solidFill>
                  <a:srgbClr val="213E7F"/>
                </a:solidFill>
              </a:rPr>
              <a:t>object’s factory method </a:t>
            </a:r>
            <a:r>
              <a:rPr lang="en-GB" sz="1400" dirty="0" err="1" smtClean="0">
                <a:solidFill>
                  <a:srgbClr val="213E7F"/>
                </a:solidFill>
              </a:rPr>
              <a:t>Character.apply</a:t>
            </a:r>
            <a:r>
              <a:rPr lang="en-GB" sz="1400" dirty="0" smtClean="0">
                <a:solidFill>
                  <a:srgbClr val="213E7F"/>
                </a:solidFill>
              </a:rPr>
              <a:t>()</a:t>
            </a:r>
            <a:endParaRPr lang="en-GB" sz="1400" dirty="0">
              <a:solidFill>
                <a:srgbClr val="213E7F"/>
              </a:solidFill>
            </a:endParaRPr>
          </a:p>
        </p:txBody>
      </p:sp>
      <p:sp>
        <p:nvSpPr>
          <p:cNvPr id="7" name="Rounded Rectangular Callout 6"/>
          <p:cNvSpPr/>
          <p:nvPr/>
        </p:nvSpPr>
        <p:spPr>
          <a:xfrm>
            <a:off x="5845709" y="1754840"/>
            <a:ext cx="3171338" cy="744071"/>
          </a:xfrm>
          <a:prstGeom prst="wedgeRoundRectCallout">
            <a:avLst>
              <a:gd name="adj1" fmla="val -72113"/>
              <a:gd name="adj2" fmla="val -19278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US" sz="1400" dirty="0">
                <a:solidFill>
                  <a:schemeClr val="tx1"/>
                </a:solidFill>
                <a:cs typeface="Courier New" panose="02070309020205020404" pitchFamily="49" charset="0"/>
              </a:rPr>
              <a:t>The second instance shares the same value for the second field, so we </a:t>
            </a:r>
            <a:r>
              <a:rPr lang="en-US" sz="1400" dirty="0" smtClean="0">
                <a:solidFill>
                  <a:schemeClr val="tx1"/>
                </a:solidFill>
                <a:cs typeface="Courier New" panose="02070309020205020404" pitchFamily="49" charset="0"/>
              </a:rPr>
              <a:t>only specify a new value for the first field 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8" name="Rounded Rectangular Callout 7"/>
          <p:cNvSpPr/>
          <p:nvPr/>
        </p:nvSpPr>
        <p:spPr>
          <a:xfrm>
            <a:off x="4233067" y="2642347"/>
            <a:ext cx="2974557" cy="544606"/>
          </a:xfrm>
          <a:prstGeom prst="wedgeRoundRectCallout">
            <a:avLst>
              <a:gd name="adj1" fmla="val -116659"/>
              <a:gd name="adj2" fmla="val -65512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400" dirty="0" smtClean="0">
                <a:solidFill>
                  <a:srgbClr val="213E7F"/>
                </a:solidFill>
              </a:rPr>
              <a:t>If both are non-null, the == operator triggers an instance’s equals</a:t>
            </a:r>
            <a:endParaRPr lang="en-GB" sz="1400" dirty="0">
              <a:solidFill>
                <a:srgbClr val="213E7F"/>
              </a:solidFill>
            </a:endParaRPr>
          </a:p>
        </p:txBody>
      </p:sp>
      <p:sp>
        <p:nvSpPr>
          <p:cNvPr id="9" name="Rounded Rectangular Callout 8"/>
          <p:cNvSpPr/>
          <p:nvPr/>
        </p:nvSpPr>
        <p:spPr>
          <a:xfrm>
            <a:off x="5720345" y="3778624"/>
            <a:ext cx="3296702" cy="948017"/>
          </a:xfrm>
          <a:prstGeom prst="wedgeRoundRectCallout">
            <a:avLst>
              <a:gd name="adj1" fmla="val -65174"/>
              <a:gd name="adj2" fmla="val -51424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en-US" sz="1400" dirty="0">
                <a:solidFill>
                  <a:schemeClr val="tx1"/>
                </a:solidFill>
                <a:cs typeface="Courier New" panose="02070309020205020404" pitchFamily="49" charset="0"/>
              </a:rPr>
              <a:t>The companion object’s </a:t>
            </a:r>
            <a:r>
              <a:rPr lang="en-US" sz="1400" dirty="0" err="1">
                <a:solidFill>
                  <a:schemeClr val="tx1"/>
                </a:solidFill>
                <a:cs typeface="Courier New" panose="02070309020205020404" pitchFamily="49" charset="0"/>
              </a:rPr>
              <a:t>unapply</a:t>
            </a:r>
            <a:r>
              <a:rPr lang="en-US" sz="1400" dirty="0">
                <a:solidFill>
                  <a:schemeClr val="tx1"/>
                </a:solidFill>
                <a:cs typeface="Courier New" panose="02070309020205020404" pitchFamily="49" charset="0"/>
              </a:rPr>
              <a:t> method allows us to decompose the </a:t>
            </a:r>
            <a:r>
              <a:rPr lang="en-US" sz="1400" dirty="0" smtClean="0">
                <a:solidFill>
                  <a:schemeClr val="tx1"/>
                </a:solidFill>
                <a:cs typeface="Courier New" panose="02070309020205020404" pitchFamily="49" charset="0"/>
              </a:rPr>
              <a:t>instance into </a:t>
            </a:r>
            <a:r>
              <a:rPr lang="en-US" sz="1400" dirty="0">
                <a:solidFill>
                  <a:schemeClr val="tx1"/>
                </a:solidFill>
                <a:cs typeface="Courier New" panose="02070309020205020404" pitchFamily="49" charset="0"/>
              </a:rPr>
              <a:t>its parts, binding the first field  and using a literal value to match </a:t>
            </a:r>
            <a:endParaRPr lang="en-GB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495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Traits (1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9578" y="927848"/>
            <a:ext cx="4094675" cy="3792070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Trait is a kind of class for multiple inheritance</a:t>
            </a:r>
          </a:p>
          <a:p>
            <a:r>
              <a:rPr lang="en-US" sz="1800" noProof="0" dirty="0" smtClean="0"/>
              <a:t>Classes, case classes, and objects can extend just for one class but </a:t>
            </a:r>
            <a:r>
              <a:rPr lang="en-US" sz="1800" b="1" noProof="0" dirty="0" smtClean="0"/>
              <a:t>traits</a:t>
            </a:r>
            <a:r>
              <a:rPr lang="en-US" sz="1800" noProof="0" dirty="0" smtClean="0"/>
              <a:t> can extend multiple traits at the same time</a:t>
            </a:r>
          </a:p>
          <a:p>
            <a:r>
              <a:rPr lang="en-US" sz="1800" b="1" noProof="0" dirty="0" smtClean="0"/>
              <a:t>Traits</a:t>
            </a:r>
            <a:r>
              <a:rPr lang="en-US" sz="1800" noProof="0" dirty="0" smtClean="0"/>
              <a:t> cannot be instantiated and take class parameters</a:t>
            </a:r>
          </a:p>
          <a:p>
            <a:r>
              <a:rPr lang="en-US" sz="1800" b="1" dirty="0" smtClean="0"/>
              <a:t>Traits</a:t>
            </a:r>
            <a:r>
              <a:rPr lang="en-US" sz="1800" noProof="0" dirty="0" smtClean="0"/>
              <a:t> can take type parameters to make them very reusab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gray">
          <a:xfrm>
            <a:off x="4692183" y="927848"/>
            <a:ext cx="4324070" cy="37920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tmlUtils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moveMarku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input: String) = {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input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.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placeAl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""&lt;/?\w[^&gt;]*&gt;""","")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.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placeAl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&lt;.*&gt;","")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tmlUtils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Page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: String) extends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tmlUtils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sPlainTex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moveMarku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)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Page</a:t>
            </a: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new Page("&lt;html&gt;Intro&lt;/html&gt;").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sPlainText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1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2: String = Introduction</a:t>
            </a:r>
          </a:p>
        </p:txBody>
      </p:sp>
    </p:spTree>
    <p:extLst>
      <p:ext uri="{BB962C8B-B14F-4D97-AF65-F5344CB8AC3E}">
        <p14:creationId xmlns:p14="http://schemas.microsoft.com/office/powerpoint/2010/main" val="171309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Traits (2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40441"/>
            <a:ext cx="8505311" cy="3980330"/>
          </a:xfrm>
        </p:spPr>
        <p:txBody>
          <a:bodyPr>
            <a:normAutofit fontScale="85000" lnSpcReduction="10000"/>
          </a:bodyPr>
          <a:lstStyle/>
          <a:p>
            <a:r>
              <a:rPr lang="en-US" sz="1700" dirty="0"/>
              <a:t>If you are extending a class and one or more traits, you will need to extend the class before you can add the traits using the </a:t>
            </a:r>
            <a:r>
              <a:rPr lang="en-US" sz="1700" b="1" dirty="0"/>
              <a:t>with </a:t>
            </a:r>
            <a:r>
              <a:rPr lang="en-US" sz="1700" dirty="0" smtClean="0"/>
              <a:t>keyword</a:t>
            </a:r>
            <a:r>
              <a:rPr lang="en-US" sz="1700" dirty="0"/>
              <a:t>. A parent class, if specified, must always come before any parent </a:t>
            </a:r>
            <a:r>
              <a:rPr lang="en-US" sz="1700" dirty="0" smtClean="0"/>
              <a:t>traits</a:t>
            </a:r>
            <a:endParaRPr lang="en-US" sz="1700" noProof="0" dirty="0" smtClean="0"/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Utils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// Returns a trimmed version of the string wrapped in an Option,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// or None if the trimmed string is empty.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mToNone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: String): Option[String] = {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Option(s) map(_.trim)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lterNo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_.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Empty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Utils</a:t>
            </a:r>
            <a:endParaRPr lang="en-US" sz="13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Page(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: String) extends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Utils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with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tmlUtils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sPlainTex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 = {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mToNone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) map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moveMarkup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n/a"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Page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new Page("&lt;html&gt;&lt;body&gt;&lt;h1&gt;Introduction&lt;/h1&gt;&lt;/body&gt;&lt;/html&gt;").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sPlainText</a:t>
            </a:r>
            <a:endParaRPr lang="en-US" sz="13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3: String = Introduction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new Page(" ").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sPlainText</a:t>
            </a:r>
            <a:endParaRPr lang="en-US" sz="13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4: String = n/a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new Page(null).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sPlainText</a:t>
            </a:r>
            <a:endParaRPr lang="en-US" sz="13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5: String = n/a</a:t>
            </a:r>
            <a:endParaRPr lang="en-US" sz="13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25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inearization - Trait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7507"/>
            <a:ext cx="8653228" cy="3859306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Linearization: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Base { overrid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Base" }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Base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A extends Base { overrid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A-&gt;" +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uper.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A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B extends Base { overrid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B-&gt;" +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uper.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B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C extends Base { overrid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C-&gt;" +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uper.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C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D extends A with B with C { overrid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D-&gt;" +</a:t>
            </a:r>
          </a:p>
          <a:p>
            <a:pPr marL="180975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uper.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D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new D()</a:t>
            </a:r>
          </a:p>
          <a:p>
            <a:pPr marL="1809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50: D = D-&gt;C-&gt;B-&gt;A-&gt;Base</a:t>
            </a:r>
            <a:endParaRPr lang="en-US" sz="14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87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elf Types in Traits (1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7506"/>
            <a:ext cx="8243888" cy="3919817"/>
          </a:xfrm>
        </p:spPr>
        <p:txBody>
          <a:bodyPr>
            <a:normAutofit/>
          </a:bodyPr>
          <a:lstStyle/>
          <a:p>
            <a:r>
              <a:rPr lang="en-US" b="1" noProof="0" dirty="0" smtClean="0"/>
              <a:t>self type </a:t>
            </a:r>
            <a:r>
              <a:rPr lang="en-US" noProof="0" dirty="0" smtClean="0"/>
              <a:t>is a trait annotation that asserts that the trait must be mixed in with a specific type, or its subtype, when it is added to a class</a:t>
            </a:r>
          </a:p>
          <a:p>
            <a:r>
              <a:rPr lang="en-US" noProof="0" dirty="0" smtClean="0"/>
              <a:t>A popular use of self types is to add functionality with traits to classes that require input parameters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A {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i = "hi" }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A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B {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elf: A =&gt;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override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B: " + hi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B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 extends B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lt;console&gt;:9: error: illegal inheritance;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elf-type C does not conform to B's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ftyp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 with A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lass C extends B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 extends A with B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new C(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: C = B: hi</a:t>
            </a:r>
          </a:p>
          <a:p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6" name="Rounded Rectangular Callout 15"/>
          <p:cNvSpPr/>
          <p:nvPr/>
        </p:nvSpPr>
        <p:spPr>
          <a:xfrm>
            <a:off x="5384902" y="1613646"/>
            <a:ext cx="3003522" cy="736282"/>
          </a:xfrm>
          <a:prstGeom prst="wedgeRoundRectCallout">
            <a:avLst>
              <a:gd name="adj1" fmla="val -100558"/>
              <a:gd name="adj2" fmla="val -29355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Our trait B has a self type, adding the requirement that the trait can only ever be mixed into a subtype of the specified type, the A class</a:t>
            </a:r>
            <a:endParaRPr lang="en-GB" sz="1400" dirty="0">
              <a:solidFill>
                <a:srgbClr val="213E7F"/>
              </a:solidFill>
            </a:endParaRPr>
          </a:p>
        </p:txBody>
      </p:sp>
      <p:sp>
        <p:nvSpPr>
          <p:cNvPr id="18" name="Rounded Rectangular Callout 17"/>
          <p:cNvSpPr/>
          <p:nvPr/>
        </p:nvSpPr>
        <p:spPr>
          <a:xfrm>
            <a:off x="5390681" y="2422848"/>
            <a:ext cx="2991963" cy="612934"/>
          </a:xfrm>
          <a:prstGeom prst="wedgeRoundRectCallout">
            <a:avLst>
              <a:gd name="adj1" fmla="val -123255"/>
              <a:gd name="adj2" fmla="val 35365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0" rIns="36000" bIns="0" rtlCol="0" anchor="ctr">
            <a:spAutoFit/>
          </a:bodyPr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… but just to prove it, let’s try defining a class with trait B but without the requested class. No </a:t>
            </a:r>
            <a:r>
              <a:rPr lang="en-GB" sz="1200" dirty="0" smtClean="0">
                <a:solidFill>
                  <a:srgbClr val="213E7F"/>
                </a:solidFill>
              </a:rPr>
              <a:t>luck</a:t>
            </a:r>
            <a:endParaRPr lang="en-GB" sz="1200" dirty="0">
              <a:solidFill>
                <a:srgbClr val="213E7F"/>
              </a:solidFill>
            </a:endParaRPr>
          </a:p>
        </p:txBody>
      </p:sp>
      <p:sp>
        <p:nvSpPr>
          <p:cNvPr id="19" name="Rounded Rectangular Callout 18"/>
          <p:cNvSpPr/>
          <p:nvPr/>
        </p:nvSpPr>
        <p:spPr>
          <a:xfrm>
            <a:off x="6221985" y="3159906"/>
            <a:ext cx="2767373" cy="612934"/>
          </a:xfrm>
          <a:prstGeom prst="wedgeRoundRectCallout">
            <a:avLst>
              <a:gd name="adj1" fmla="val -136685"/>
              <a:gd name="adj2" fmla="val 51936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0" rIns="36000" bIns="0" rtlCol="0" anchor="ctr">
            <a:spAutoFit/>
          </a:bodyPr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This time, trait B is directly extending its requested type, A, so its self </a:t>
            </a:r>
            <a:r>
              <a:rPr lang="en-GB" sz="1200" dirty="0" smtClean="0">
                <a:solidFill>
                  <a:srgbClr val="213E7F"/>
                </a:solidFill>
              </a:rPr>
              <a:t>type requirement </a:t>
            </a:r>
            <a:r>
              <a:rPr lang="en-GB" sz="1200" dirty="0">
                <a:solidFill>
                  <a:srgbClr val="213E7F"/>
                </a:solidFill>
              </a:rPr>
              <a:t>has been met</a:t>
            </a:r>
          </a:p>
        </p:txBody>
      </p:sp>
      <p:sp>
        <p:nvSpPr>
          <p:cNvPr id="20" name="Rounded Rectangular Callout 19"/>
          <p:cNvSpPr/>
          <p:nvPr/>
        </p:nvSpPr>
        <p:spPr>
          <a:xfrm>
            <a:off x="4232857" y="3992426"/>
            <a:ext cx="3978257" cy="612934"/>
          </a:xfrm>
          <a:prstGeom prst="wedgeRoundRectCallout">
            <a:avLst>
              <a:gd name="adj1" fmla="val -96581"/>
              <a:gd name="adj2" fmla="val 25837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0" rIns="36000" bIns="0" rtlCol="0" anchor="ctr">
            <a:spAutoFit/>
          </a:bodyPr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When our C class is instantiated, </a:t>
            </a:r>
            <a:r>
              <a:rPr lang="en-GB" sz="1200" dirty="0" err="1">
                <a:solidFill>
                  <a:srgbClr val="213E7F"/>
                </a:solidFill>
              </a:rPr>
              <a:t>B.toString</a:t>
            </a:r>
            <a:r>
              <a:rPr lang="en-GB" sz="1200" dirty="0">
                <a:solidFill>
                  <a:srgbClr val="213E7F"/>
                </a:solidFill>
              </a:rPr>
              <a:t> is invoked, which then </a:t>
            </a:r>
            <a:r>
              <a:rPr lang="en-GB" sz="1200" dirty="0" smtClean="0">
                <a:solidFill>
                  <a:srgbClr val="213E7F"/>
                </a:solidFill>
              </a:rPr>
              <a:t>invokes </a:t>
            </a:r>
            <a:r>
              <a:rPr lang="en-GB" sz="1200" dirty="0" err="1" smtClean="0">
                <a:solidFill>
                  <a:srgbClr val="213E7F"/>
                </a:solidFill>
              </a:rPr>
              <a:t>A.hi</a:t>
            </a:r>
            <a:r>
              <a:rPr lang="en-GB" sz="1200" dirty="0">
                <a:solidFill>
                  <a:srgbClr val="213E7F"/>
                </a:solidFill>
              </a:rPr>
              <a:t>. The B trait is indeed used as a subtype of A here and can invoke one of </a:t>
            </a:r>
            <a:r>
              <a:rPr lang="en-GB" sz="1200" dirty="0" smtClean="0">
                <a:solidFill>
                  <a:srgbClr val="213E7F"/>
                </a:solidFill>
              </a:rPr>
              <a:t>its methods</a:t>
            </a:r>
            <a:endParaRPr lang="en-GB" sz="1200" dirty="0">
              <a:solidFill>
                <a:srgbClr val="213E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20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Self Types in Traits (2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218" y="894229"/>
            <a:ext cx="8767482" cy="3832412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Benefits of </a:t>
            </a:r>
            <a:r>
              <a:rPr lang="en-US" sz="1800" b="1" noProof="0" dirty="0" smtClean="0"/>
              <a:t>self types </a:t>
            </a:r>
            <a:r>
              <a:rPr lang="en-US" sz="1800" noProof="0" dirty="0" smtClean="0"/>
              <a:t>(extend a class without specifying its input parameters):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Suite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uiteName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) {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tart() {} }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Suite</a:t>
            </a:r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andomSeeded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 self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Suite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andomStar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setSeed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ystem.currentTimeMillis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f.star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andomSeeded</a:t>
            </a:r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dSpec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extends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Suite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ID Tests") with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andomSeeded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Id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{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next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!= 1) }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override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tart() {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stId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}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Starting..."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andomStar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dSpec</a:t>
            </a:r>
            <a:endParaRPr lang="en-US" sz="12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6679794" y="1196788"/>
            <a:ext cx="2410418" cy="403411"/>
          </a:xfrm>
          <a:prstGeom prst="wedgeRoundRectCallout">
            <a:avLst>
              <a:gd name="adj1" fmla="val -67741"/>
              <a:gd name="adj2" fmla="val -25937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Here is the base class, </a:t>
            </a:r>
            <a:r>
              <a:rPr lang="en-GB" sz="1200" dirty="0" err="1">
                <a:solidFill>
                  <a:srgbClr val="213E7F"/>
                </a:solidFill>
              </a:rPr>
              <a:t>TestSuite</a:t>
            </a:r>
            <a:r>
              <a:rPr lang="en-GB" sz="1200" dirty="0">
                <a:solidFill>
                  <a:srgbClr val="213E7F"/>
                </a:solidFill>
              </a:rPr>
              <a:t>, which takes an input parameter</a:t>
            </a:r>
          </a:p>
        </p:txBody>
      </p:sp>
      <p:sp>
        <p:nvSpPr>
          <p:cNvPr id="14" name="Rounded Rectangular Callout 13"/>
          <p:cNvSpPr/>
          <p:nvPr/>
        </p:nvSpPr>
        <p:spPr>
          <a:xfrm>
            <a:off x="6007161" y="1687605"/>
            <a:ext cx="3009506" cy="1207437"/>
          </a:xfrm>
          <a:prstGeom prst="wedgeRoundRectCallout">
            <a:avLst>
              <a:gd name="adj1" fmla="val -81990"/>
              <a:gd name="adj2" fmla="val -50598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Our trait needs to invoke </a:t>
            </a:r>
            <a:r>
              <a:rPr lang="en-GB" sz="1200" dirty="0" err="1">
                <a:solidFill>
                  <a:srgbClr val="213E7F"/>
                </a:solidFill>
              </a:rPr>
              <a:t>TestSuite.start</a:t>
            </a:r>
            <a:r>
              <a:rPr lang="en-GB" sz="1200" dirty="0">
                <a:solidFill>
                  <a:srgbClr val="213E7F"/>
                </a:solidFill>
              </a:rPr>
              <a:t>() but cannot extend </a:t>
            </a:r>
            <a:r>
              <a:rPr lang="en-GB" sz="1200" dirty="0" err="1">
                <a:solidFill>
                  <a:srgbClr val="213E7F"/>
                </a:solidFill>
              </a:rPr>
              <a:t>TestSuite</a:t>
            </a:r>
            <a:r>
              <a:rPr lang="en-GB" sz="1200" dirty="0">
                <a:solidFill>
                  <a:srgbClr val="213E7F"/>
                </a:solidFill>
              </a:rPr>
              <a:t> because it would require hardcoding the input parameter. By using a self type, the trait can expect to be </a:t>
            </a:r>
            <a:r>
              <a:rPr lang="en-GB" sz="1200" b="1" dirty="0">
                <a:solidFill>
                  <a:srgbClr val="213E7F"/>
                </a:solidFill>
              </a:rPr>
              <a:t>a subtype of </a:t>
            </a:r>
            <a:r>
              <a:rPr lang="en-GB" sz="1200" b="1" dirty="0" err="1">
                <a:solidFill>
                  <a:srgbClr val="213E7F"/>
                </a:solidFill>
              </a:rPr>
              <a:t>TestSuite</a:t>
            </a:r>
            <a:r>
              <a:rPr lang="en-GB" sz="1200" b="1" dirty="0">
                <a:solidFill>
                  <a:srgbClr val="213E7F"/>
                </a:solidFill>
              </a:rPr>
              <a:t> </a:t>
            </a:r>
            <a:r>
              <a:rPr lang="en-GB" sz="1200" dirty="0">
                <a:solidFill>
                  <a:srgbClr val="213E7F"/>
                </a:solidFill>
              </a:rPr>
              <a:t>without explicitly </a:t>
            </a:r>
            <a:r>
              <a:rPr lang="en-GB" sz="1200" dirty="0" smtClean="0">
                <a:solidFill>
                  <a:srgbClr val="213E7F"/>
                </a:solidFill>
              </a:rPr>
              <a:t>being declared </a:t>
            </a:r>
            <a:r>
              <a:rPr lang="en-GB" sz="1200" dirty="0">
                <a:solidFill>
                  <a:srgbClr val="213E7F"/>
                </a:solidFill>
              </a:rPr>
              <a:t>as one</a:t>
            </a:r>
          </a:p>
        </p:txBody>
      </p:sp>
      <p:sp>
        <p:nvSpPr>
          <p:cNvPr id="15" name="Rounded Rectangular Callout 14"/>
          <p:cNvSpPr/>
          <p:nvPr/>
        </p:nvSpPr>
        <p:spPr>
          <a:xfrm>
            <a:off x="6007161" y="3988490"/>
            <a:ext cx="2809628" cy="603719"/>
          </a:xfrm>
          <a:prstGeom prst="wedgeRoundRectCallout">
            <a:avLst>
              <a:gd name="adj1" fmla="val -44659"/>
              <a:gd name="adj2" fmla="val -163080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The test class </a:t>
            </a:r>
            <a:r>
              <a:rPr lang="en-GB" sz="1200" dirty="0" err="1">
                <a:solidFill>
                  <a:srgbClr val="213E7F"/>
                </a:solidFill>
              </a:rPr>
              <a:t>IdSpec</a:t>
            </a:r>
            <a:r>
              <a:rPr lang="en-GB" sz="1200" dirty="0">
                <a:solidFill>
                  <a:srgbClr val="213E7F"/>
                </a:solidFill>
              </a:rPr>
              <a:t> defines our self-typed trait as a subclass, allowing its </a:t>
            </a:r>
            <a:r>
              <a:rPr lang="en-GB" sz="1200" dirty="0" err="1">
                <a:solidFill>
                  <a:srgbClr val="213E7F"/>
                </a:solidFill>
              </a:rPr>
              <a:t>randomStart</a:t>
            </a:r>
            <a:r>
              <a:rPr lang="en-GB" sz="1200" dirty="0">
                <a:solidFill>
                  <a:srgbClr val="213E7F"/>
                </a:solidFill>
              </a:rPr>
              <a:t>() to be </a:t>
            </a:r>
            <a:r>
              <a:rPr lang="en-GB" sz="1200" dirty="0" err="1">
                <a:solidFill>
                  <a:srgbClr val="213E7F"/>
                </a:solidFill>
              </a:rPr>
              <a:t>invocable</a:t>
            </a:r>
            <a:endParaRPr lang="en-GB" sz="1200" dirty="0">
              <a:solidFill>
                <a:srgbClr val="213E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02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stantiation with Traits (1 / 2) 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noProof="0" dirty="0" smtClean="0"/>
              <a:t>Instantiation with Traits</a:t>
            </a:r>
            <a:r>
              <a:rPr lang="en-US" noProof="0" dirty="0" smtClean="0"/>
              <a:t>: add the traits when the class is instantiated</a:t>
            </a:r>
          </a:p>
          <a:p>
            <a:r>
              <a:rPr lang="en-US" noProof="0" dirty="0" smtClean="0"/>
              <a:t>The traits must use </a:t>
            </a:r>
            <a:r>
              <a:rPr lang="en-US" b="1" noProof="0" dirty="0" smtClean="0"/>
              <a:t>with</a:t>
            </a:r>
            <a:r>
              <a:rPr lang="en-US" noProof="0" dirty="0" smtClean="0"/>
              <a:t> and no </a:t>
            </a:r>
            <a:r>
              <a:rPr lang="en-US" b="1" noProof="0" dirty="0" smtClean="0"/>
              <a:t>extends. </a:t>
            </a:r>
            <a:r>
              <a:rPr lang="en-US" noProof="0" dirty="0" smtClean="0"/>
              <a:t>Are the traits which are been extended with the </a:t>
            </a:r>
            <a:r>
              <a:rPr lang="en-US" noProof="0" dirty="0" err="1" smtClean="0"/>
              <a:t>classs</a:t>
            </a:r>
            <a:endParaRPr lang="en-US" noProof="0" dirty="0" smtClean="0"/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A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A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B { self: A =&gt; }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B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 = new A with B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: A with B = $anon$1@26a7b76d</a:t>
            </a:r>
            <a:endParaRPr lang="en-US" sz="1900" b="1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5728447" y="1876886"/>
            <a:ext cx="3321423" cy="1323514"/>
          </a:xfrm>
          <a:prstGeom prst="wedgeRoundRectCallout">
            <a:avLst>
              <a:gd name="adj1" fmla="val -76158"/>
              <a:gd name="adj2" fmla="val 35841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400" dirty="0">
                <a:solidFill>
                  <a:srgbClr val="213E7F"/>
                </a:solidFill>
              </a:rPr>
              <a:t>The instance’s class is indeed anonymous, because it contains a combination of a class and trait that are not formally included in any named</a:t>
            </a:r>
          </a:p>
          <a:p>
            <a:pPr lvl="0"/>
            <a:r>
              <a:rPr lang="en-GB" sz="1400" dirty="0">
                <a:solidFill>
                  <a:srgbClr val="213E7F"/>
                </a:solidFill>
              </a:rPr>
              <a:t>class definition</a:t>
            </a:r>
          </a:p>
        </p:txBody>
      </p:sp>
    </p:spTree>
    <p:extLst>
      <p:ext uri="{BB962C8B-B14F-4D97-AF65-F5344CB8AC3E}">
        <p14:creationId xmlns:p14="http://schemas.microsoft.com/office/powerpoint/2010/main" val="419376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stantiation with Traits (2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74059"/>
            <a:ext cx="8370841" cy="3866029"/>
          </a:xfrm>
        </p:spPr>
        <p:txBody>
          <a:bodyPr>
            <a:normAutofit/>
          </a:bodyPr>
          <a:lstStyle/>
          <a:p>
            <a:r>
              <a:rPr lang="en-US" sz="1500" noProof="0" dirty="0" smtClean="0"/>
              <a:t>The real value in instantiating with traits is in adding new functionality or configurations to existing classes.</a:t>
            </a:r>
          </a:p>
          <a:p>
            <a:r>
              <a:rPr lang="en-US" sz="1500" noProof="0" dirty="0" smtClean="0"/>
              <a:t>This feature is commonly known as </a:t>
            </a:r>
            <a:r>
              <a:rPr lang="en-US" sz="1500" b="1" noProof="0" dirty="0" smtClean="0"/>
              <a:t>dependency injection: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User(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ame: String) {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uffix = ""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overrid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s"$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ame$suffix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User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Attorney { self: User =&gt; overrid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uffix = “with attorney" }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Attorney</a:t>
            </a:r>
          </a:p>
          <a:p>
            <a:pPr marL="0" lvl="1" indent="0">
              <a:buNone/>
            </a:pP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 = new User(“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John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: User =  John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 = new User(“Mary") with Attorney</a:t>
            </a:r>
          </a:p>
          <a:p>
            <a:pPr marL="0" lvl="1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m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User with Attorney =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ry with Attorney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957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mport Instance Member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67335"/>
            <a:ext cx="8384287" cy="3939989"/>
          </a:xfrm>
        </p:spPr>
        <p:txBody>
          <a:bodyPr>
            <a:normAutofit fontScale="47500" lnSpcReduction="20000"/>
          </a:bodyPr>
          <a:lstStyle/>
          <a:p>
            <a:r>
              <a:rPr lang="en-US" sz="3800" noProof="0" dirty="0" smtClean="0"/>
              <a:t>The import keyword can also be used to import </a:t>
            </a:r>
            <a:r>
              <a:rPr lang="en-US" sz="3800" i="1" noProof="0" dirty="0" smtClean="0"/>
              <a:t>members </a:t>
            </a:r>
            <a:r>
              <a:rPr lang="en-US" sz="3800" noProof="0" dirty="0" smtClean="0"/>
              <a:t>of classes and objects into the current namespace</a:t>
            </a:r>
          </a:p>
          <a:p>
            <a:pPr marL="3175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ase class Receipt(id: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amount: Double, who: String, title: String)</a:t>
            </a:r>
          </a:p>
          <a:p>
            <a:pPr marL="3175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Receipt</a:t>
            </a:r>
          </a:p>
          <a:p>
            <a:pPr marL="3175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</a:p>
          <a:p>
            <a:pPr marL="3175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atteReceipt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Receipt(123, 4.12, "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red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"Medium Latte")</a:t>
            </a:r>
          </a:p>
          <a:p>
            <a:pPr marL="3175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mport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atteReceipt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_</a:t>
            </a:r>
          </a:p>
          <a:p>
            <a:pPr marL="3175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Sold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 $title for $amount to $who")</a:t>
            </a:r>
          </a:p>
          <a:p>
            <a:pPr marL="3175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old a Medium Latte for 4.12 to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red</a:t>
            </a:r>
            <a:endParaRPr lang="en-US" sz="29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4150" lvl="1" indent="0">
              <a:buNone/>
            </a:pPr>
            <a:endParaRPr lang="en-US" sz="29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lvl="1"/>
            <a:r>
              <a:rPr lang="en-US" sz="3800" noProof="0" dirty="0" smtClean="0">
                <a:cs typeface="ＭＳ Ｐゴシック" charset="0"/>
              </a:rPr>
              <a:t>Use of members of </a:t>
            </a:r>
            <a:r>
              <a:rPr lang="en-US" sz="3800" noProof="0" dirty="0" err="1" smtClean="0">
                <a:cs typeface="ＭＳ Ｐゴシック" charset="0"/>
              </a:rPr>
              <a:t>util.Random</a:t>
            </a:r>
            <a:r>
              <a:rPr lang="en-US" sz="3800" noProof="0" dirty="0" smtClean="0">
                <a:cs typeface="ＭＳ Ｐゴシック" charset="0"/>
              </a:rPr>
              <a:t> object</a:t>
            </a:r>
          </a:p>
          <a:p>
            <a:pPr marL="0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import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_</a:t>
            </a:r>
          </a:p>
          <a:p>
            <a:pPr marL="0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_</a:t>
            </a:r>
          </a:p>
          <a:p>
            <a:pPr marL="0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etters =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lphanumeric.take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0).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List.mkString</a:t>
            </a:r>
            <a:endParaRPr lang="en-US" sz="29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etters: String = MwDR3EyHa1cr0JqsP9Tf</a:t>
            </a:r>
          </a:p>
          <a:p>
            <a:pPr marL="0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umbers = shuffle(1 to 20)</a:t>
            </a:r>
          </a:p>
          <a:p>
            <a:pPr marL="0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umbers: 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immutable.IndexedSeq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2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Vector(5, 10, 18, 1,</a:t>
            </a:r>
          </a:p>
          <a:p>
            <a:pPr marL="0" lvl="1" indent="0">
              <a:buNone/>
            </a:pPr>
            <a:r>
              <a:rPr lang="en-US" sz="2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6, 8, 20, 14, 19, 11, 17, 3, 15, 7, 4, 9, 6, 12, 13, 2)</a:t>
            </a:r>
            <a:endParaRPr lang="en-US" sz="9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sz="32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90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Exerci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7"/>
            <a:ext cx="8243888" cy="259137"/>
          </a:xfrm>
        </p:spPr>
        <p:txBody>
          <a:bodyPr>
            <a:noAutofit/>
          </a:bodyPr>
          <a:lstStyle/>
          <a:p>
            <a:r>
              <a:rPr lang="en-US" sz="2800" b="1" noProof="0" dirty="0" smtClean="0"/>
              <a:t>Exercise 9 - Object, Case Classes and Traits</a:t>
            </a:r>
            <a:endParaRPr lang="en-US" sz="2800" b="1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161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Literals, Values, Variables &amp; Typ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429" y="904034"/>
            <a:ext cx="8754036" cy="2968719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A </a:t>
            </a:r>
            <a:r>
              <a:rPr lang="en-US" sz="1800" b="1" noProof="0" dirty="0" smtClean="0"/>
              <a:t>variable</a:t>
            </a:r>
            <a:r>
              <a:rPr lang="en-US" sz="1800" noProof="0" dirty="0" smtClean="0"/>
              <a:t> is a mutable, typed storage unit. A </a:t>
            </a:r>
            <a:r>
              <a:rPr lang="en-US" sz="1800" b="1" noProof="0" dirty="0" smtClean="0"/>
              <a:t>variable</a:t>
            </a:r>
            <a:r>
              <a:rPr lang="en-US" sz="1800" noProof="0" dirty="0" smtClean="0"/>
              <a:t> can be assigned when it is defined and can also be </a:t>
            </a:r>
            <a:r>
              <a:rPr lang="en-US" sz="1800" b="1" noProof="0" dirty="0" smtClean="0"/>
              <a:t>reassigned</a:t>
            </a:r>
            <a:r>
              <a:rPr lang="en-US" sz="1800" noProof="0" dirty="0" smtClean="0"/>
              <a:t> at any time.</a:t>
            </a:r>
          </a:p>
          <a:p>
            <a:pPr marL="8001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: Double = 2.72</a:t>
            </a:r>
          </a:p>
          <a:p>
            <a:pPr marL="8001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: Double = 2.72</a:t>
            </a:r>
          </a:p>
          <a:p>
            <a:pPr marL="8001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a = 355.0 / 113.0</a:t>
            </a:r>
          </a:p>
          <a:p>
            <a:pPr marL="8001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: Double = 3.1415929203539825</a:t>
            </a:r>
          </a:p>
          <a:p>
            <a:r>
              <a:rPr lang="en-US" sz="1800" noProof="0" dirty="0" smtClean="0"/>
              <a:t>A </a:t>
            </a:r>
            <a:r>
              <a:rPr lang="en-US" sz="1800" b="1" noProof="0" dirty="0" smtClean="0"/>
              <a:t>type</a:t>
            </a:r>
            <a:r>
              <a:rPr lang="en-US" sz="1800" noProof="0" dirty="0" smtClean="0"/>
              <a:t> is the kind of data you are working with, a definition or classification of data. All data in Scala corresponds to a specific type, and all Scala types are defined as classes with methods that operate on the data. It’s optional to type it (</a:t>
            </a:r>
            <a:r>
              <a:rPr lang="en-US" sz="1800" b="1" noProof="0" dirty="0" smtClean="0"/>
              <a:t>type inference</a:t>
            </a:r>
            <a:r>
              <a:rPr lang="en-US" sz="1800" noProof="0" dirty="0" smtClean="0"/>
              <a:t>). Some basic types:</a:t>
            </a:r>
          </a:p>
          <a:p>
            <a:endParaRPr lang="en-US" sz="1800" noProof="0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6169899"/>
              </p:ext>
            </p:extLst>
          </p:nvPr>
        </p:nvGraphicFramePr>
        <p:xfrm>
          <a:off x="449266" y="3888500"/>
          <a:ext cx="8513199" cy="77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628"/>
                <a:gridCol w="874059"/>
                <a:gridCol w="820271"/>
                <a:gridCol w="900952"/>
                <a:gridCol w="1048871"/>
                <a:gridCol w="1310685"/>
                <a:gridCol w="945911"/>
                <a:gridCol w="945911"/>
                <a:gridCol w="945911"/>
              </a:tblGrid>
              <a:tr h="27813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Byte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Short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err="1" smtClean="0"/>
                        <a:t>Int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Long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err="1" smtClean="0"/>
                        <a:t>Float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err="1" smtClean="0"/>
                        <a:t>Double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err="1" smtClean="0"/>
                        <a:t>Boolean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err="1" smtClean="0"/>
                        <a:t>Char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err="1" smtClean="0"/>
                        <a:t>String</a:t>
                      </a:r>
                      <a:endParaRPr lang="en-GB" sz="1400" dirty="0"/>
                    </a:p>
                  </a:txBody>
                  <a:tcPr marT="34290" marB="34290"/>
                </a:tc>
              </a:tr>
              <a:tr h="44577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1 byte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2 bytes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4 bytes</a:t>
                      </a:r>
                    </a:p>
                    <a:p>
                      <a:r>
                        <a:rPr lang="es-ES" sz="1400" dirty="0" smtClean="0"/>
                        <a:t>5, 0x0f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8 bytes</a:t>
                      </a:r>
                    </a:p>
                    <a:p>
                      <a:r>
                        <a:rPr lang="es-ES" sz="1400" dirty="0" smtClean="0"/>
                        <a:t>5l, 5L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4 bytes</a:t>
                      </a:r>
                    </a:p>
                    <a:p>
                      <a:r>
                        <a:rPr lang="es-ES" sz="1400" dirty="0" smtClean="0"/>
                        <a:t>5f, 5F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8 bytes</a:t>
                      </a:r>
                    </a:p>
                    <a:p>
                      <a:r>
                        <a:rPr lang="es-ES" sz="1400" dirty="0" smtClean="0"/>
                        <a:t>5.0, 5d, 5D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true / false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‘h’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“</a:t>
                      </a:r>
                      <a:r>
                        <a:rPr lang="es-ES" sz="1400" dirty="0" err="1" smtClean="0"/>
                        <a:t>hello</a:t>
                      </a:r>
                      <a:r>
                        <a:rPr lang="es-ES" sz="1400" dirty="0" smtClean="0"/>
                        <a:t>”</a:t>
                      </a:r>
                      <a:endParaRPr lang="en-GB" sz="1400" dirty="0"/>
                    </a:p>
                  </a:txBody>
                  <a:tcPr marT="34290" marB="3429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8159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615553"/>
          </a:xfrm>
        </p:spPr>
        <p:txBody>
          <a:bodyPr/>
          <a:lstStyle/>
          <a:p>
            <a:r>
              <a:rPr lang="en-US" dirty="0" smtClean="0"/>
              <a:t>11. Advanced Typing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3348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mplicit parameter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5"/>
            <a:ext cx="8243888" cy="3960159"/>
          </a:xfrm>
        </p:spPr>
        <p:txBody>
          <a:bodyPr>
            <a:normAutofit fontScale="92500" lnSpcReduction="10000"/>
          </a:bodyPr>
          <a:lstStyle/>
          <a:p>
            <a:r>
              <a:rPr lang="en-US" sz="1700" dirty="0"/>
              <a:t>I</a:t>
            </a:r>
            <a:r>
              <a:rPr lang="en-US" sz="1700" noProof="0" dirty="0" err="1" smtClean="0"/>
              <a:t>nvoke</a:t>
            </a:r>
            <a:r>
              <a:rPr lang="en-US" sz="1700" noProof="0" dirty="0" smtClean="0"/>
              <a:t> a function without specifying all of the parameters (not partially applied functions, not default parameters)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object Doubly {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int(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m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Double)(</a:t>
            </a:r>
            <a:r>
              <a:rPr lang="en-US" sz="13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lici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m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) = {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m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ormat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m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object Doubly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ubly.prin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3.724)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lt;console&gt;:9: error: could not find implicit value for parameter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m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</a:t>
            </a:r>
          </a:p>
          <a:p>
            <a:pPr marL="184150" lvl="1" indent="0">
              <a:buNone/>
            </a:pP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ubly.prin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3.724)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ubly.prin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3.724)("%.1f") //using all parameters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3.7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ase class USD(amount: Double) {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implicit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Fm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%.2f“  // define an implicit value in the caller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int =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ubly.print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amount)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USD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new USD(81.924).print</a:t>
            </a:r>
          </a:p>
          <a:p>
            <a:pPr marL="1841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81.9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661212" y="3848785"/>
            <a:ext cx="32474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Excessive use can make your code hard to read and understand</a:t>
            </a:r>
            <a:endParaRPr lang="en-US" sz="9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67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mplicit Clas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5"/>
            <a:ext cx="5189468" cy="3614177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Add new methods to a Class without modification</a:t>
            </a:r>
          </a:p>
          <a:p>
            <a:r>
              <a:rPr lang="en-US" sz="1800" noProof="0" dirty="0" smtClean="0"/>
              <a:t>Example add a method “fishes” to Class </a:t>
            </a:r>
            <a:r>
              <a:rPr lang="en-US" sz="1800" noProof="0" dirty="0" err="1" smtClean="0"/>
              <a:t>Int</a:t>
            </a:r>
            <a:endParaRPr lang="en-US" sz="1800" noProof="0" dirty="0" smtClean="0"/>
          </a:p>
          <a:p>
            <a:pPr marL="0" indent="0">
              <a:buNone/>
            </a:pPr>
            <a:endParaRPr lang="en-US" sz="1800" noProof="0" dirty="0" smtClean="0"/>
          </a:p>
          <a:p>
            <a:pPr marL="0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object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Util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licit class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ishie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b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	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ishes = "Fish" * x</a:t>
            </a:r>
            <a:b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  <a:b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Util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_</a:t>
            </a:r>
            <a:b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i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3.fishes)</a:t>
            </a:r>
          </a:p>
          <a:p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5" name="Rounded Rectangular Callout 14"/>
          <p:cNvSpPr/>
          <p:nvPr/>
        </p:nvSpPr>
        <p:spPr>
          <a:xfrm>
            <a:off x="5639184" y="1439714"/>
            <a:ext cx="2655793" cy="489060"/>
          </a:xfrm>
          <a:prstGeom prst="wedgeRoundRectCallout">
            <a:avLst>
              <a:gd name="adj1" fmla="val -89576"/>
              <a:gd name="adj2" fmla="val 85333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lvl="0"/>
            <a:r>
              <a:rPr lang="en-GB" sz="1200" dirty="0" err="1">
                <a:solidFill>
                  <a:srgbClr val="213E7F"/>
                </a:solidFill>
              </a:rPr>
              <a:t>Fishies</a:t>
            </a:r>
            <a:r>
              <a:rPr lang="en-GB" sz="1200" dirty="0">
                <a:solidFill>
                  <a:srgbClr val="213E7F"/>
                </a:solidFill>
              </a:rPr>
              <a:t>, defined inside an object, implicitly converts integers to itself …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2627784" y="4236982"/>
            <a:ext cx="2582572" cy="489060"/>
          </a:xfrm>
          <a:prstGeom prst="wedgeRoundRectCallout">
            <a:avLst>
              <a:gd name="adj1" fmla="val -54430"/>
              <a:gd name="adj2" fmla="val -115386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… and then the fishes() method can be invoked on any integer</a:t>
            </a:r>
            <a:r>
              <a:rPr lang="en-GB" sz="1200" dirty="0" smtClean="0">
                <a:solidFill>
                  <a:srgbClr val="213E7F"/>
                </a:solidFill>
              </a:rPr>
              <a:t>.</a:t>
            </a:r>
            <a:endParaRPr lang="en-GB" sz="1200" dirty="0">
              <a:solidFill>
                <a:srgbClr val="213E7F"/>
              </a:solidFill>
            </a:endParaRPr>
          </a:p>
        </p:txBody>
      </p:sp>
      <p:sp>
        <p:nvSpPr>
          <p:cNvPr id="18" name="Rounded Rectangular Callout 17"/>
          <p:cNvSpPr/>
          <p:nvPr/>
        </p:nvSpPr>
        <p:spPr>
          <a:xfrm>
            <a:off x="3785482" y="3515323"/>
            <a:ext cx="2465544" cy="489060"/>
          </a:xfrm>
          <a:prstGeom prst="wedgeRoundRectCallout">
            <a:avLst>
              <a:gd name="adj1" fmla="val -98062"/>
              <a:gd name="adj2" fmla="val -30149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lvl="0"/>
            <a:r>
              <a:rPr lang="en-GB" sz="1200" dirty="0" smtClean="0">
                <a:solidFill>
                  <a:srgbClr val="213E7F"/>
                </a:solidFill>
              </a:rPr>
              <a:t>Before using it, the implicit class must be added to the namespace</a:t>
            </a:r>
            <a:endParaRPr lang="en-GB" sz="1200" dirty="0">
              <a:solidFill>
                <a:srgbClr val="213E7F"/>
              </a:solidFill>
            </a:endParaRPr>
          </a:p>
        </p:txBody>
      </p:sp>
      <p:sp>
        <p:nvSpPr>
          <p:cNvPr id="19" name="Rounded Rectangular Callout 18"/>
          <p:cNvSpPr/>
          <p:nvPr/>
        </p:nvSpPr>
        <p:spPr>
          <a:xfrm>
            <a:off x="5420596" y="2838004"/>
            <a:ext cx="2465544" cy="489060"/>
          </a:xfrm>
          <a:prstGeom prst="wedgeRoundRectCallout">
            <a:avLst>
              <a:gd name="adj1" fmla="val -97789"/>
              <a:gd name="adj2" fmla="val -97514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… so that the fishes() method will be defined for all integers.</a:t>
            </a:r>
          </a:p>
        </p:txBody>
      </p:sp>
    </p:spTree>
    <p:extLst>
      <p:ext uri="{BB962C8B-B14F-4D97-AF65-F5344CB8AC3E}">
        <p14:creationId xmlns:p14="http://schemas.microsoft.com/office/powerpoint/2010/main" val="310315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 - Type alia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8" y="874059"/>
            <a:ext cx="3341640" cy="3845859"/>
          </a:xfrm>
        </p:spPr>
        <p:txBody>
          <a:bodyPr>
            <a:noAutofit/>
          </a:bodyPr>
          <a:lstStyle/>
          <a:p>
            <a:r>
              <a:rPr lang="en-US" noProof="0" dirty="0" smtClean="0"/>
              <a:t>Type alias: creates a new named type for a specific, existing type (or class)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gray">
          <a:xfrm>
            <a:off x="3650878" y="887506"/>
            <a:ext cx="5318312" cy="36934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object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ypeFu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ype Whole =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14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: Whole = 5</a:t>
            </a: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ype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nfo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Tuple2[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,String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u: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nfo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new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Info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23, "George")</a:t>
            </a: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ype T3[A,B,C] = Tuple3[A,B,C]</a:t>
            </a: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hings = new T3(1, 'a', true)</a:t>
            </a: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object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ypeFun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ypeFun.x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ypeFun.Whol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5</a:t>
            </a: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u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ypeFun.u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u: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ypeFun.UserInfo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(123,George)</a:t>
            </a: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hings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ypeFun.things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hings: 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Char, Boolean) = (1,a,true)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5681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 - Abstract Typ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0783"/>
            <a:ext cx="8572546" cy="3939988"/>
          </a:xfrm>
        </p:spPr>
        <p:txBody>
          <a:bodyPr>
            <a:normAutofit/>
          </a:bodyPr>
          <a:lstStyle/>
          <a:p>
            <a:r>
              <a:rPr lang="en-US" sz="1600" noProof="0" dirty="0" smtClean="0"/>
              <a:t>Used to create </a:t>
            </a:r>
            <a:r>
              <a:rPr lang="en-US" sz="1600" b="1" noProof="0" dirty="0" smtClean="0"/>
              <a:t>type declarations </a:t>
            </a:r>
            <a:r>
              <a:rPr lang="en-US" sz="1600" noProof="0" dirty="0" smtClean="0"/>
              <a:t>in abstract classes, which declare types that concrete (non abstract) subclasses must implement.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User(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ame: String)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User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Factory { type A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reate: A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Factory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Factory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extends Factory {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type A = User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reate = new User("")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Factory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600" noProof="0" dirty="0" smtClean="0"/>
              <a:t>The same using type </a:t>
            </a:r>
            <a:r>
              <a:rPr lang="en-US" sz="1600" noProof="0" dirty="0" err="1" smtClean="0"/>
              <a:t>paramenters</a:t>
            </a:r>
            <a:endParaRPr lang="en-US" sz="1600" noProof="0" dirty="0" smtClean="0"/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Factory[A] {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reate: A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Factory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trait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Factory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extends Factory[User] {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reate = new User("")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trait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serFactory</a:t>
            </a:r>
            <a:endParaRPr lang="en-US" sz="14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85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- Bounded Types (1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400" noProof="0" dirty="0" smtClean="0"/>
              <a:t>A </a:t>
            </a:r>
            <a:r>
              <a:rPr lang="en-US" sz="2400" b="1" noProof="0" dirty="0" smtClean="0"/>
              <a:t>bounded type </a:t>
            </a:r>
            <a:r>
              <a:rPr lang="en-US" sz="2400" noProof="0" dirty="0" smtClean="0"/>
              <a:t>is restricted to being either a specific class or else its subtype or base type</a:t>
            </a:r>
          </a:p>
          <a:p>
            <a:r>
              <a:rPr lang="en-US" sz="2400" noProof="0" dirty="0" smtClean="0"/>
              <a:t>An </a:t>
            </a:r>
            <a:r>
              <a:rPr lang="en-US" sz="2400" b="1" noProof="0" dirty="0" smtClean="0"/>
              <a:t>upper bound </a:t>
            </a:r>
            <a:r>
              <a:rPr lang="en-US" sz="2400" noProof="0" dirty="0" smtClean="0"/>
              <a:t>restricts a type to only that type or one of its subtypes</a:t>
            </a:r>
          </a:p>
          <a:p>
            <a:r>
              <a:rPr lang="en-US" sz="2400" noProof="0" dirty="0" smtClean="0"/>
              <a:t>A </a:t>
            </a:r>
            <a:r>
              <a:rPr lang="en-US" sz="2400" b="1" noProof="0" dirty="0" smtClean="0"/>
              <a:t>lower bound </a:t>
            </a:r>
            <a:r>
              <a:rPr lang="en-US" sz="2400" noProof="0" dirty="0" smtClean="0"/>
              <a:t>restricts a type to only that type or else one of the base types it extends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222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- Bounded Types (2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53889"/>
            <a:ext cx="8243888" cy="3926540"/>
          </a:xfrm>
        </p:spPr>
        <p:txBody>
          <a:bodyPr>
            <a:noAutofit/>
          </a:bodyPr>
          <a:lstStyle/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seUser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ame: String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seUser</a:t>
            </a:r>
            <a:endParaRPr lang="en-US" sz="10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Admin(name: String,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evel: String) extends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seUser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ame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Admin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ustomer(name: String) extends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seUser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ame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ustomer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eferredCustomer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ame: String) extends Customer(name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eferredCustomer</a:t>
            </a:r>
            <a:endParaRPr lang="en-US" sz="10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heck[A &lt;: </a:t>
            </a:r>
            <a:r>
              <a:rPr lang="en-US" sz="10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seUser</a:t>
            </a:r>
            <a:r>
              <a:rPr lang="en-US" sz="1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u: A) { if (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.name.isEmpty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Fail!") }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heck: [A &lt;: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seUser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(u: A)Unit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heck(new Customer("Fred")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heck(new Admin("", "strict")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ail!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cruit[A &gt;: Customer]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u: Customer): A = u match {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case p: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eferredCustomer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new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eferredCustomer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u.name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case c: Customer =&gt; new Customer(u.name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cruit: [A &gt;: Customer](u: Customer)A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ustomer = recruit(new Customer("Fred")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ustomer: Customer = Customer@4746fb8c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eferred = recruit(new </a:t>
            </a:r>
            <a:r>
              <a:rPr lang="en-US" sz="1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eferredCustomer</a:t>
            </a: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George"))</a:t>
            </a:r>
          </a:p>
          <a:p>
            <a:pPr marL="0" lvl="1" indent="0">
              <a:buNone/>
            </a:pPr>
            <a:r>
              <a:rPr lang="en-US" sz="1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referred: Customer = PreferredCustomer@4cd8db31</a:t>
            </a:r>
            <a:endParaRPr lang="en-US" sz="10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6232435" y="1604440"/>
            <a:ext cx="2655793" cy="489060"/>
          </a:xfrm>
          <a:prstGeom prst="wedgeRoundRectCallout">
            <a:avLst>
              <a:gd name="adj1" fmla="val -89576"/>
              <a:gd name="adj2" fmla="val 85333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Now we’ll define a function that takes a parameter with an upper bound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6069423" y="2975565"/>
            <a:ext cx="2220689" cy="489060"/>
          </a:xfrm>
          <a:prstGeom prst="wedgeRoundRectCallout">
            <a:avLst>
              <a:gd name="adj1" fmla="val -90182"/>
              <a:gd name="adj2" fmla="val 11095"/>
              <a:gd name="adj3" fmla="val 16667"/>
            </a:avLst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And a function that takes a parameter with an lower bound</a:t>
            </a:r>
          </a:p>
        </p:txBody>
      </p:sp>
    </p:spTree>
    <p:extLst>
      <p:ext uri="{BB962C8B-B14F-4D97-AF65-F5344CB8AC3E}">
        <p14:creationId xmlns:p14="http://schemas.microsoft.com/office/powerpoint/2010/main" val="214939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 - Type Variance (1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4"/>
            <a:ext cx="8243888" cy="3939989"/>
          </a:xfrm>
        </p:spPr>
        <p:txBody>
          <a:bodyPr>
            <a:normAutofit/>
          </a:bodyPr>
          <a:lstStyle/>
          <a:p>
            <a:r>
              <a:rPr lang="en-US" sz="2400" dirty="0" smtClean="0"/>
              <a:t>A</a:t>
            </a:r>
            <a:r>
              <a:rPr lang="en-US" sz="2400" noProof="0" dirty="0" smtClean="0"/>
              <a:t>ding </a:t>
            </a:r>
            <a:r>
              <a:rPr lang="en-US" sz="2400" b="1" noProof="0" dirty="0" smtClean="0"/>
              <a:t>upper</a:t>
            </a:r>
            <a:r>
              <a:rPr lang="en-US" sz="2400" noProof="0" dirty="0" smtClean="0"/>
              <a:t> or </a:t>
            </a:r>
            <a:r>
              <a:rPr lang="en-US" sz="2400" b="1" noProof="0" dirty="0" smtClean="0"/>
              <a:t>lower</a:t>
            </a:r>
            <a:r>
              <a:rPr lang="en-US" sz="2400" noProof="0" dirty="0" smtClean="0"/>
              <a:t> bounds will make </a:t>
            </a:r>
            <a:r>
              <a:rPr lang="en-US" sz="2400" b="1" noProof="0" dirty="0" smtClean="0"/>
              <a:t>type parameters </a:t>
            </a:r>
            <a:r>
              <a:rPr lang="en-US" sz="2400" noProof="0" dirty="0" smtClean="0"/>
              <a:t>more restrictive,</a:t>
            </a:r>
          </a:p>
          <a:p>
            <a:r>
              <a:rPr lang="en-US" sz="2400" dirty="0" smtClean="0"/>
              <a:t>A</a:t>
            </a:r>
            <a:r>
              <a:rPr lang="en-US" sz="2400" noProof="0" dirty="0" smtClean="0"/>
              <a:t>ding </a:t>
            </a:r>
            <a:r>
              <a:rPr lang="en-US" sz="2400" b="1" noProof="0" dirty="0" smtClean="0"/>
              <a:t>type variance </a:t>
            </a:r>
            <a:r>
              <a:rPr lang="en-US" sz="2400" noProof="0" dirty="0" smtClean="0"/>
              <a:t>makes type parameters </a:t>
            </a:r>
            <a:r>
              <a:rPr lang="en-US" sz="2400" i="1" noProof="0" dirty="0" smtClean="0"/>
              <a:t>less </a:t>
            </a:r>
            <a:r>
              <a:rPr lang="en-US" sz="2400" noProof="0" dirty="0" smtClean="0"/>
              <a:t>restrictive</a:t>
            </a:r>
          </a:p>
          <a:p>
            <a:r>
              <a:rPr lang="en-US" sz="2400" b="1" noProof="0" dirty="0" smtClean="0"/>
              <a:t>Type variance </a:t>
            </a:r>
            <a:r>
              <a:rPr lang="en-US" sz="2400" noProof="0" dirty="0" smtClean="0"/>
              <a:t>specifies how a type parameter may adapt to meet a base type or subtype</a:t>
            </a:r>
          </a:p>
          <a:p>
            <a:r>
              <a:rPr lang="en-US" sz="2400" noProof="0" dirty="0" smtClean="0"/>
              <a:t>Type parameters are </a:t>
            </a:r>
            <a:r>
              <a:rPr lang="en-US" sz="2400" b="1" noProof="0" dirty="0" smtClean="0"/>
              <a:t>invariant</a:t>
            </a:r>
            <a:r>
              <a:rPr lang="en-US" sz="2400" noProof="0" dirty="0" smtClean="0"/>
              <a:t> by default, cannot adapt to alternate types even if they are compatib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70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 - Type Varianc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4"/>
            <a:ext cx="8243888" cy="4013948"/>
          </a:xfrm>
        </p:spPr>
        <p:txBody>
          <a:bodyPr>
            <a:normAutofit lnSpcReduction="10000"/>
          </a:bodyPr>
          <a:lstStyle/>
          <a:p>
            <a:r>
              <a:rPr lang="en-US" sz="1600" noProof="0" dirty="0" smtClean="0"/>
              <a:t>Scala’s polymorphism, allows lower types to be stored in values with higher types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ar { overrid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Car()"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ar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Volvo extends Car { override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"Volvo()"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Volvo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: Car = new Volvo()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: Car = Volvo()</a:t>
            </a:r>
          </a:p>
          <a:p>
            <a:pPr marL="161925" indent="-161925">
              <a:buFont typeface="Arial" panose="020B0604020202020204" pitchFamily="34" charset="0"/>
              <a:buChar char="•"/>
            </a:pPr>
            <a:r>
              <a:rPr lang="en-US" sz="1600" noProof="0" dirty="0" smtClean="0">
                <a:cs typeface="ＭＳ Ｐゴシック" charset="0"/>
              </a:rPr>
              <a:t>The same polymorphic adaptation doesn’t hold for type parameters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ase class Item[A](a: A) {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et: A = a }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Item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: Item[Car] = new Item[Volvo](new Volvo)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lt;console&gt;:12: error: type mismatch;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ound : Item[Volvo]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quired: Item[Car]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ote: Volvo &lt;: Car, but class Item is invariant in type A.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You may wish to define A as +A instead. (SLS 4.5)</a:t>
            </a:r>
          </a:p>
          <a:p>
            <a:pPr marL="400050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: Item[Car] = new Item[Volvo](new Volvo)</a:t>
            </a:r>
          </a:p>
          <a:p>
            <a:pPr marL="400050" lvl="1" indent="0">
              <a:buNone/>
            </a:pPr>
            <a:endParaRPr lang="en-US" sz="92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90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 – Covariant typ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41295"/>
            <a:ext cx="8243888" cy="3540218"/>
          </a:xfrm>
        </p:spPr>
        <p:txBody>
          <a:bodyPr>
            <a:normAutofit/>
          </a:bodyPr>
          <a:lstStyle/>
          <a:p>
            <a:r>
              <a:rPr lang="en-US" sz="2000" b="1" noProof="0" dirty="0" smtClean="0"/>
              <a:t>Covariant</a:t>
            </a:r>
            <a:r>
              <a:rPr lang="en-US" sz="2000" noProof="0" dirty="0" smtClean="0"/>
              <a:t> type parameters can automatically morph into one of their base types when necessary</a:t>
            </a:r>
          </a:p>
          <a:p>
            <a:pPr marL="457200" lvl="1" indent="0">
              <a:buNone/>
            </a:pPr>
            <a:endParaRPr lang="en-US" sz="2000" dirty="0"/>
          </a:p>
          <a:p>
            <a:pPr marL="45720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ase class Item</a:t>
            </a:r>
            <a:r>
              <a:rPr lang="en-US" sz="18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+A]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a: A) {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et: A = a }</a:t>
            </a:r>
          </a:p>
          <a:p>
            <a:pPr marL="45720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Item</a:t>
            </a:r>
          </a:p>
          <a:p>
            <a:pPr marL="45720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: Item[Car] = new Item[Volvo](new Volvo)</a:t>
            </a:r>
          </a:p>
          <a:p>
            <a:pPr marL="45720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: Item[Car] = Item(Volvo())</a:t>
            </a:r>
          </a:p>
          <a:p>
            <a:pPr marL="45720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uto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.get</a:t>
            </a: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5720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uto: Car = Volvo()</a:t>
            </a:r>
            <a:endParaRPr lang="en-US" sz="18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19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mmutability to avoid side effect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77140"/>
            <a:ext cx="8243888" cy="3829331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In </a:t>
            </a:r>
            <a:r>
              <a:rPr lang="en-US" sz="2000" b="1" noProof="0" dirty="0" smtClean="0"/>
              <a:t>Scala</a:t>
            </a:r>
            <a:r>
              <a:rPr lang="en-US" sz="2000" noProof="0" dirty="0" smtClean="0"/>
              <a:t>, </a:t>
            </a:r>
            <a:r>
              <a:rPr lang="en-US" sz="2000" b="1" noProof="0" dirty="0" smtClean="0"/>
              <a:t>values are preferred over variables </a:t>
            </a:r>
            <a:r>
              <a:rPr lang="en-US" sz="2000" noProof="0" dirty="0" smtClean="0"/>
              <a:t>by convention, due to the stability and predictability they bring to source code. </a:t>
            </a:r>
          </a:p>
          <a:p>
            <a:r>
              <a:rPr lang="en-US" sz="2000" noProof="0" dirty="0" smtClean="0"/>
              <a:t>When you define a </a:t>
            </a:r>
            <a:r>
              <a:rPr lang="en-US" sz="2000" b="1" noProof="0" dirty="0" smtClean="0"/>
              <a:t>value</a:t>
            </a:r>
            <a:r>
              <a:rPr lang="en-US" sz="2000" noProof="0" dirty="0" smtClean="0"/>
              <a:t> you can be assured that it will </a:t>
            </a:r>
            <a:r>
              <a:rPr lang="en-US" sz="2000" b="1" noProof="0" dirty="0" smtClean="0"/>
              <a:t>retain</a:t>
            </a:r>
            <a:r>
              <a:rPr lang="en-US" sz="2000" noProof="0" dirty="0" smtClean="0"/>
              <a:t> the same value regardless of any other code that may access it. </a:t>
            </a:r>
          </a:p>
          <a:p>
            <a:r>
              <a:rPr lang="en-US" sz="2000" noProof="0" dirty="0" smtClean="0"/>
              <a:t>When working with data that may be available from </a:t>
            </a:r>
            <a:r>
              <a:rPr lang="en-US" sz="2000" b="1" noProof="0" dirty="0" smtClean="0"/>
              <a:t>concurrent</a:t>
            </a:r>
            <a:r>
              <a:rPr lang="en-US" sz="2000" noProof="0" dirty="0" smtClean="0"/>
              <a:t> or </a:t>
            </a:r>
            <a:r>
              <a:rPr lang="en-US" sz="2000" b="1" noProof="0" dirty="0" smtClean="0"/>
              <a:t>multithreaded</a:t>
            </a:r>
            <a:r>
              <a:rPr lang="en-US" sz="2000" noProof="0" dirty="0" smtClean="0"/>
              <a:t> code, an </a:t>
            </a:r>
            <a:r>
              <a:rPr lang="en-US" sz="2000" b="1" noProof="0" dirty="0" smtClean="0"/>
              <a:t>immutable value </a:t>
            </a:r>
            <a:r>
              <a:rPr lang="en-US" sz="2000" noProof="0" dirty="0" smtClean="0"/>
              <a:t>will be more stable and less prone to errors than mutable data that may be modified at unexpected times.</a:t>
            </a:r>
          </a:p>
          <a:p>
            <a:r>
              <a:rPr lang="en-US" sz="2000" noProof="0" dirty="0" smtClean="0"/>
              <a:t>However, in those places where </a:t>
            </a:r>
            <a:r>
              <a:rPr lang="en-US" sz="2000" b="1" noProof="0" dirty="0" smtClean="0"/>
              <a:t>variables are more suitable</a:t>
            </a:r>
            <a:r>
              <a:rPr lang="en-US" sz="2000" noProof="0" dirty="0" smtClean="0"/>
              <a:t>, such as </a:t>
            </a:r>
            <a:r>
              <a:rPr lang="en-US" sz="2000" b="1" noProof="0" dirty="0" smtClean="0"/>
              <a:t>local variables that store temporary data </a:t>
            </a:r>
            <a:r>
              <a:rPr lang="en-US" sz="2000" noProof="0" dirty="0" smtClean="0"/>
              <a:t>or </a:t>
            </a:r>
            <a:r>
              <a:rPr lang="en-US" sz="2000" b="1" noProof="0" dirty="0" smtClean="0"/>
              <a:t>accumulate values </a:t>
            </a:r>
            <a:r>
              <a:rPr lang="en-US" sz="2000" noProof="0" dirty="0" smtClean="0"/>
              <a:t>in loops, variables will certainly be used.</a:t>
            </a:r>
            <a:endParaRPr lang="en-US" sz="20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36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 – Contravariant typ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77140"/>
            <a:ext cx="8243888" cy="3829331"/>
          </a:xfrm>
        </p:spPr>
        <p:txBody>
          <a:bodyPr>
            <a:noAutofit/>
          </a:bodyPr>
          <a:lstStyle/>
          <a:p>
            <a:r>
              <a:rPr lang="en-US" sz="1800" b="1" noProof="0" dirty="0" smtClean="0"/>
              <a:t>Covariant</a:t>
            </a:r>
            <a:r>
              <a:rPr lang="en-US" sz="1800" noProof="0" dirty="0" smtClean="0"/>
              <a:t> is not always applicable. An input parameter to a method cannot be covariant. it would be bound to a subtype but be </a:t>
            </a:r>
            <a:r>
              <a:rPr lang="en-US" sz="1800" noProof="0" dirty="0" err="1" smtClean="0"/>
              <a:t>invokable</a:t>
            </a:r>
            <a:r>
              <a:rPr lang="en-US" sz="1800" noProof="0" dirty="0" smtClean="0"/>
              <a:t> with a base type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heck[+A] {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heck(a: A) = {}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lt;console&gt;:7: error: covariant type A occurs in contravariant position in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ype A of value a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lass Check[+A] {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heck(a: A) = {} }</a:t>
            </a:r>
          </a:p>
          <a:p>
            <a:r>
              <a:rPr lang="en-US" sz="1800" b="1" i="1" noProof="0" dirty="0" err="1" smtClean="0"/>
              <a:t>Contravariance</a:t>
            </a:r>
            <a:r>
              <a:rPr lang="en-US" sz="1800" i="1" noProof="0" dirty="0" smtClean="0"/>
              <a:t> </a:t>
            </a:r>
            <a:r>
              <a:rPr lang="en-US" sz="1800" noProof="0" dirty="0" smtClean="0"/>
              <a:t>is where a type parameter may morph into a subtype</a:t>
            </a:r>
          </a:p>
          <a:p>
            <a:r>
              <a:rPr lang="en-US" sz="1800" noProof="0" dirty="0" smtClean="0"/>
              <a:t>They can be used for input parameters to methods but not as their return types. Return types are covariant, because their result may be a subtype that is </a:t>
            </a:r>
            <a:r>
              <a:rPr lang="en-US" sz="1800" noProof="0" dirty="0" err="1" smtClean="0"/>
              <a:t>polymorphically</a:t>
            </a:r>
            <a:r>
              <a:rPr lang="en-US" sz="1800" noProof="0" dirty="0" smtClean="0"/>
              <a:t> converted to a base type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heck[-A] {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heck(a: A) = {}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heck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1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s – covariant / contravariant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14401"/>
            <a:ext cx="8538928" cy="3751728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Example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ar; class Volvo extends Car; class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olvoWagon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extends Volvo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ar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Volvo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olvoWagon</a:t>
            </a:r>
            <a:endParaRPr lang="en-US" sz="15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Item[+A](a: A) {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et: A = a }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Item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heck[-A] {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heck(a: A) = {} }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heck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tem(v: Item[Volvo]) {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: Car =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.get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tem: (v: Item[Volvo])Unit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heck(v: Check[Volvo]) {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.check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olvoWagon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 }</a:t>
            </a:r>
          </a:p>
          <a:p>
            <a:pPr marL="1841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heck: (v: Check[Volvo])Unit</a:t>
            </a:r>
            <a:endParaRPr lang="en-US" sz="15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593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338554"/>
          </a:xfrm>
        </p:spPr>
        <p:txBody>
          <a:bodyPr/>
          <a:lstStyle/>
          <a:p>
            <a:r>
              <a:rPr lang="en-US" noProof="0" dirty="0" smtClean="0"/>
              <a:t>LinkedIn</a:t>
            </a:r>
          </a:p>
          <a:p>
            <a:r>
              <a:rPr lang="en-US" dirty="0"/>
              <a:t>https://es.linkedin.com/in/chicochica10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tring Interpola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48018"/>
            <a:ext cx="8243888" cy="3738281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s prefix: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tem = "apple"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tem: String = apple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How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do you like them ${item}s?"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0: String = How do you like them apples?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Fish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 chips n vinegar, ${"pepper "*3}salt"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: String = Fish n chips n vinegar, pepper pepper pepper salt</a:t>
            </a:r>
          </a:p>
          <a:p>
            <a:r>
              <a:rPr lang="en-US" sz="2000" noProof="0" dirty="0" smtClean="0"/>
              <a:t>f prefix (</a:t>
            </a:r>
            <a:r>
              <a:rPr lang="en-US" sz="2000" noProof="0" dirty="0" err="1" smtClean="0"/>
              <a:t>printf</a:t>
            </a:r>
            <a:r>
              <a:rPr lang="en-US" sz="2000" noProof="0" dirty="0" smtClean="0"/>
              <a:t> notation):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tem = "apple"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tem: String = apple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"I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wrote a new $item%.3s today"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2: String = I wrote a new app today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"Enjoyin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his $item ${355/113.0}%.5f times today"</a:t>
            </a:r>
          </a:p>
          <a:p>
            <a:pPr marL="40005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3: String = Enjoying this apple 3.14159 times today</a:t>
            </a:r>
            <a:endParaRPr lang="en-US" sz="14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23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cala class hierarchy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30765" y="2075376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re non numeric types</a:t>
            </a:r>
            <a:endParaRPr lang="en-US" dirty="0"/>
          </a:p>
        </p:txBody>
      </p:sp>
      <p:pic>
        <p:nvPicPr>
          <p:cNvPr id="5" name="Picture 2" descr="C:\Users\aimr\Pictures\scala_class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65" y="2606660"/>
            <a:ext cx="3249434" cy="1815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aimr\Pictures\scala_hierarchy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1067" y="794135"/>
            <a:ext cx="6052934" cy="3648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828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e opera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4034"/>
            <a:ext cx="8243888" cy="3362325"/>
          </a:xfrm>
        </p:spPr>
        <p:txBody>
          <a:bodyPr/>
          <a:lstStyle/>
          <a:p>
            <a:r>
              <a:rPr lang="en-US" sz="2000" noProof="0" dirty="0" smtClean="0"/>
              <a:t>Common type operations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90" y="1357813"/>
            <a:ext cx="7905605" cy="3335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46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upl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84716"/>
            <a:ext cx="8243888" cy="3755372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200" noProof="0" dirty="0" smtClean="0"/>
              <a:t>Creating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400050" lvl="1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fo = (5, "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Korben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, true)</a:t>
            </a:r>
          </a:p>
          <a:p>
            <a:pPr marL="400050" lvl="1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fo: (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String, Boolean) = (5,Korben,true)</a:t>
            </a:r>
          </a:p>
          <a:p>
            <a:pPr marL="0" indent="0">
              <a:buNone/>
            </a:pPr>
            <a:r>
              <a:rPr lang="en-US" sz="2200" noProof="0" dirty="0" smtClean="0"/>
              <a:t>Accessing:</a:t>
            </a:r>
          </a:p>
          <a:p>
            <a:pPr marL="400050" lvl="1" indent="0">
              <a:buNone/>
            </a:pPr>
            <a:r>
              <a:rPr lang="en-US" sz="2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ame = info._2</a:t>
            </a:r>
          </a:p>
          <a:p>
            <a:pPr marL="400050" lvl="1" indent="0">
              <a:buNone/>
            </a:pPr>
            <a:r>
              <a:rPr lang="en-US" sz="2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ame: String = </a:t>
            </a:r>
            <a:r>
              <a:rPr lang="en-US" sz="2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Korben</a:t>
            </a:r>
            <a:endParaRPr lang="en-US" sz="2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2200" noProof="0" dirty="0" smtClean="0"/>
              <a:t>Using -&gt;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d = "red" -&gt; "0xff0000"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d: (String, String) = (red,0xff0000)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versed = red._2 -&gt; red._1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versed: (String, String) = (0xff0000,red)</a:t>
            </a:r>
            <a:endParaRPr lang="en-US" sz="22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10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Exerci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600" b="1" noProof="0" dirty="0" smtClean="0"/>
              <a:t>Exercise 2 – Literals, Values, Variables &amp; Types </a:t>
            </a:r>
            <a:endParaRPr lang="en-US" sz="3600" b="1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06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en-US" noProof="0" dirty="0" smtClean="0"/>
              <a:t>AGENDA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60000"/>
            <a:r>
              <a:rPr lang="en-US" noProof="0" dirty="0" smtClean="0"/>
              <a:t>Introduction &amp; Installation</a:t>
            </a:r>
          </a:p>
          <a:p>
            <a:pPr marL="360000"/>
            <a:r>
              <a:rPr lang="en-US" dirty="0" smtClean="0"/>
              <a:t>Basic Operations – Type Inference</a:t>
            </a:r>
            <a:endParaRPr lang="en-US" noProof="0" dirty="0" smtClean="0"/>
          </a:p>
          <a:p>
            <a:pPr marL="360000"/>
            <a:r>
              <a:rPr lang="en-US" dirty="0" smtClean="0"/>
              <a:t>Data: Literals, Values, Variables &amp; Types</a:t>
            </a:r>
            <a:endParaRPr lang="en-US" noProof="0" dirty="0" smtClean="0"/>
          </a:p>
          <a:p>
            <a:pPr marL="360000"/>
            <a:r>
              <a:rPr lang="en-US" dirty="0" smtClean="0"/>
              <a:t>Expressions &amp; Conditionals</a:t>
            </a:r>
            <a:endParaRPr lang="en-US" noProof="0" dirty="0" smtClean="0"/>
          </a:p>
          <a:p>
            <a:pPr marL="360000"/>
            <a:r>
              <a:rPr lang="en-US" noProof="0" dirty="0" smtClean="0"/>
              <a:t>Functions</a:t>
            </a:r>
          </a:p>
          <a:p>
            <a:pPr marL="360000"/>
            <a:r>
              <a:rPr lang="en-US" dirty="0" smtClean="0"/>
              <a:t>First-class functions</a:t>
            </a:r>
            <a:endParaRPr lang="en-US" noProof="0" dirty="0" smtClean="0"/>
          </a:p>
          <a:p>
            <a:pPr marL="0" indent="0">
              <a:buNone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1231106"/>
          </a:xfrm>
        </p:spPr>
        <p:txBody>
          <a:bodyPr/>
          <a:lstStyle/>
          <a:p>
            <a:r>
              <a:rPr lang="en-US" dirty="0" smtClean="0"/>
              <a:t>4</a:t>
            </a:r>
            <a:r>
              <a:rPr lang="en-US" noProof="0" dirty="0" smtClean="0"/>
              <a:t>. </a:t>
            </a:r>
            <a:r>
              <a:rPr lang="en-US" dirty="0"/>
              <a:t>Expressions &amp; </a:t>
            </a:r>
            <a:r>
              <a:rPr lang="en-US" dirty="0" smtClean="0"/>
              <a:t>Conditionals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9755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pressions and Conditional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21124"/>
            <a:ext cx="8633058" cy="3825687"/>
          </a:xfrm>
        </p:spPr>
        <p:txBody>
          <a:bodyPr>
            <a:normAutofit lnSpcReduction="10000"/>
          </a:bodyPr>
          <a:lstStyle/>
          <a:p>
            <a:r>
              <a:rPr lang="en-US" sz="2200" noProof="0" dirty="0" smtClean="0"/>
              <a:t>Expression: a single unit of code that returns a value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"hello“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"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e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 + 'l' + "o“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5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5 * 20; </a:t>
            </a:r>
            <a:r>
              <a:rPr lang="en-US" sz="15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mount = x + 10 //2 expr. 1 line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5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mount = { </a:t>
            </a:r>
            <a:r>
              <a:rPr lang="en-US" sz="15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5 * 20; x + 10 } // better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5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mount = {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5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5 * 20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x + 10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//the same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nested expr.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{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 = 1; {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 = a * 2; { </a:t>
            </a:r>
            <a:r>
              <a:rPr lang="en-US" sz="15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 = b + 4; c } } }</a:t>
            </a:r>
          </a:p>
          <a:p>
            <a:r>
              <a:rPr lang="en-US" sz="2200" noProof="0" dirty="0" smtClean="0"/>
              <a:t>Statements: Expressions that doesn’t return a value (return </a:t>
            </a:r>
            <a:r>
              <a:rPr lang="en-US" sz="2200" b="1" noProof="0" dirty="0" smtClean="0"/>
              <a:t>Unit</a:t>
            </a:r>
            <a:r>
              <a:rPr lang="en-US" sz="2200" noProof="0" dirty="0" smtClean="0"/>
              <a:t>)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5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1 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REPL repeats the definition of x but not data returned that can</a:t>
            </a:r>
          </a:p>
          <a:p>
            <a:pPr marL="400050" lvl="1" indent="0">
              <a:buNone/>
            </a:pPr>
            <a:r>
              <a:rPr lang="en-US" sz="15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be used to create a new value</a:t>
            </a:r>
            <a:endParaRPr lang="en-US" sz="15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66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F-Else Express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0613"/>
            <a:ext cx="8243888" cy="3620900"/>
          </a:xfrm>
        </p:spPr>
        <p:txBody>
          <a:bodyPr>
            <a:normAutofit fontScale="92500" lnSpcReduction="10000"/>
          </a:bodyPr>
          <a:lstStyle/>
          <a:p>
            <a:r>
              <a:rPr lang="en-US" sz="2200" dirty="0" smtClean="0"/>
              <a:t>Simple IF-block</a:t>
            </a:r>
            <a:endParaRPr lang="en-US" sz="2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 47 % 3 &gt; 0 )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Not a multiple of 3")</a:t>
            </a:r>
          </a:p>
          <a:p>
            <a:r>
              <a:rPr lang="en-US" sz="2200" dirty="0" smtClean="0"/>
              <a:t>Returns Any type</a:t>
            </a:r>
            <a:endParaRPr lang="en-US" sz="2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20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sult = 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 false ) "what does this return?“</a:t>
            </a:r>
          </a:p>
          <a:p>
            <a:r>
              <a:rPr lang="en-US" sz="2200" dirty="0" smtClean="0"/>
              <a:t>if-else</a:t>
            </a:r>
            <a:endParaRPr lang="en-US" sz="2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20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10;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y = 20; </a:t>
            </a:r>
            <a:r>
              <a:rPr lang="en-US" sz="20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x = 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x &gt; y) x </a:t>
            </a:r>
            <a:r>
              <a:rPr lang="en-US" sz="20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en-US" sz="20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y //if-else</a:t>
            </a:r>
          </a:p>
          <a:p>
            <a:r>
              <a:rPr lang="en-US" sz="2200" b="1" dirty="0" smtClean="0"/>
              <a:t>If </a:t>
            </a:r>
            <a:r>
              <a:rPr lang="en-US" sz="2200" b="1" dirty="0"/>
              <a:t>everything fits on one </a:t>
            </a:r>
            <a:r>
              <a:rPr lang="en-US" sz="2200" b="1" dirty="0" smtClean="0"/>
              <a:t>line</a:t>
            </a:r>
            <a:r>
              <a:rPr lang="en-US" sz="2200" dirty="0" smtClean="0"/>
              <a:t>, using </a:t>
            </a:r>
            <a:r>
              <a:rPr lang="en-US" sz="2200" noProof="0" dirty="0" smtClean="0"/>
              <a:t>a </a:t>
            </a:r>
            <a:r>
              <a:rPr lang="en-US" sz="2200" b="1" noProof="0" dirty="0" smtClean="0"/>
              <a:t>single expression </a:t>
            </a:r>
            <a:r>
              <a:rPr lang="en-US" sz="2200" noProof="0" dirty="0" smtClean="0"/>
              <a:t>without an expression block in </a:t>
            </a:r>
            <a:r>
              <a:rPr lang="en-US" sz="2200" b="1" noProof="0" dirty="0" err="1" smtClean="0"/>
              <a:t>if..else</a:t>
            </a:r>
            <a:r>
              <a:rPr lang="en-US" sz="2200" b="1" noProof="0" dirty="0" smtClean="0"/>
              <a:t> expressions </a:t>
            </a:r>
            <a:r>
              <a:rPr lang="en-US" sz="2200" noProof="0" dirty="0" smtClean="0"/>
              <a:t>works well </a:t>
            </a:r>
          </a:p>
          <a:p>
            <a:r>
              <a:rPr lang="en-US" sz="2200" dirty="0" smtClean="0"/>
              <a:t>But in case</a:t>
            </a:r>
            <a:r>
              <a:rPr lang="en-US" sz="2200" noProof="0" dirty="0" smtClean="0"/>
              <a:t> </a:t>
            </a:r>
            <a:r>
              <a:rPr lang="en-US" sz="2200" noProof="0" dirty="0" err="1" smtClean="0"/>
              <a:t>if..else</a:t>
            </a:r>
            <a:r>
              <a:rPr lang="en-US" sz="2200" noProof="0" dirty="0" smtClean="0"/>
              <a:t> expression </a:t>
            </a:r>
            <a:r>
              <a:rPr lang="en-US" sz="2200" b="1" noProof="0" dirty="0" smtClean="0"/>
              <a:t>doesn’t easily fit on a single line</a:t>
            </a:r>
            <a:r>
              <a:rPr lang="en-US" sz="2200" noProof="0" dirty="0" smtClean="0"/>
              <a:t>, consider using </a:t>
            </a:r>
            <a:r>
              <a:rPr lang="en-US" sz="2200" b="1" noProof="0" dirty="0" smtClean="0"/>
              <a:t>expression blocks</a:t>
            </a:r>
            <a:r>
              <a:rPr lang="en-US" sz="2200" noProof="0" dirty="0" smtClean="0"/>
              <a:t> to make your code </a:t>
            </a:r>
            <a:r>
              <a:rPr lang="en-US" sz="2200" b="1" noProof="0" dirty="0" smtClean="0"/>
              <a:t>more readable</a:t>
            </a:r>
            <a:r>
              <a:rPr lang="en-US" sz="2200" noProof="0" dirty="0" smtClean="0"/>
              <a:t>.</a:t>
            </a:r>
          </a:p>
          <a:p>
            <a:endParaRPr lang="en-US" sz="20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61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Match Express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559" y="880223"/>
            <a:ext cx="4754748" cy="962024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Similar to C and Java but more flexible (types, reg. exp. Numeric range, data structures )</a:t>
            </a:r>
          </a:p>
          <a:p>
            <a:r>
              <a:rPr lang="en-US" sz="1800" noProof="0" dirty="0" smtClean="0"/>
              <a:t>Preferred over if-else nested block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gray">
          <a:xfrm>
            <a:off x="4558553" y="924471"/>
            <a:ext cx="4226857" cy="37550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tatus = 500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atus: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500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essage = status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200 =&gt; "ok"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400 =&gt; { 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ERR- not found")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"error"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500 =&gt; { 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ERR - internal")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"error"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gray">
          <a:xfrm>
            <a:off x="305828" y="2191306"/>
            <a:ext cx="3748460" cy="2474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90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10;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y = 20</a:t>
            </a:r>
          </a:p>
          <a:p>
            <a:pPr marL="2190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0</a:t>
            </a:r>
          </a:p>
          <a:p>
            <a:pPr marL="2190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y: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20</a:t>
            </a:r>
          </a:p>
          <a:p>
            <a:pPr marL="2190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x = x &gt; y match {</a:t>
            </a:r>
          </a:p>
          <a:p>
            <a:pPr marL="2190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rue =&gt; x</a:t>
            </a:r>
          </a:p>
          <a:p>
            <a:pPr marL="2190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alse =&gt; y</a:t>
            </a:r>
          </a:p>
          <a:p>
            <a:pPr marL="2190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219075" indent="0">
              <a:buFont typeface="Wingdings" panose="05000000000000000000" pitchFamily="2" charset="2"/>
              <a:buNone/>
            </a:pP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x: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20</a:t>
            </a:r>
          </a:p>
          <a:p>
            <a:pPr marL="400050" lvl="1" indent="0">
              <a:buFont typeface="Wingdings" panose="05000000000000000000" pitchFamily="2" charset="2"/>
              <a:buNone/>
            </a:pP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714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Match Expressions with patterns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77240" y="989150"/>
            <a:ext cx="4287183" cy="3362325"/>
          </a:xfrm>
        </p:spPr>
        <p:txBody>
          <a:bodyPr>
            <a:normAutofit/>
          </a:bodyPr>
          <a:lstStyle/>
          <a:p>
            <a:r>
              <a:rPr lang="en-US" sz="2000" dirty="0" smtClean="0">
                <a:cs typeface="Courier New" panose="02070309020205020404" pitchFamily="49" charset="0"/>
              </a:rPr>
              <a:t>Value Binding Pattern</a:t>
            </a:r>
          </a:p>
          <a:p>
            <a:pPr marL="0" indent="0">
              <a:buNone/>
            </a:pPr>
            <a:r>
              <a:rPr lang="en-GB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GB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message = "Ok"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message: String = Ok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GB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status = message match {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"Ok" =&gt; 200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other =&gt; {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"Couldn't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arse $other")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-1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}</a:t>
            </a:r>
          </a:p>
          <a:p>
            <a:pPr marL="0" indent="0">
              <a:buNone/>
            </a:pPr>
            <a:endParaRPr lang="en-GB" dirty="0">
              <a:cs typeface="Courier New" panose="02070309020205020404" pitchFamily="49" charset="0"/>
            </a:endParaRPr>
          </a:p>
        </p:txBody>
      </p:sp>
      <p:sp>
        <p:nvSpPr>
          <p:cNvPr id="11" name="Content Placeholder 9"/>
          <p:cNvSpPr txBox="1">
            <a:spLocks/>
          </p:cNvSpPr>
          <p:nvPr/>
        </p:nvSpPr>
        <p:spPr bwMode="gray">
          <a:xfrm>
            <a:off x="4551831" y="989150"/>
            <a:ext cx="4592169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cs typeface="Courier New" panose="02070309020205020404" pitchFamily="49" charset="0"/>
              </a:rPr>
              <a:t>Pattern Guard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GB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response: String = null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response: String = null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response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s if s != null =&gt; </a:t>
            </a:r>
            <a:r>
              <a:rPr lang="en-GB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		</a:t>
            </a:r>
            <a:r>
              <a:rPr lang="en-GB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GB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Rec.'$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'")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s =&gt; </a:t>
            </a:r>
            <a:endParaRPr lang="en-GB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GB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"Error! </a:t>
            </a:r>
            <a:r>
              <a:rPr lang="en-GB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c. null res")</a:t>
            </a:r>
            <a:endParaRPr lang="en-GB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GB" dirty="0"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657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Match Expressions (cont.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7871" y="957823"/>
            <a:ext cx="4659453" cy="3362325"/>
          </a:xfrm>
        </p:spPr>
        <p:txBody>
          <a:bodyPr/>
          <a:lstStyle/>
          <a:p>
            <a:r>
              <a:rPr lang="en-GB" sz="2000" dirty="0" smtClean="0">
                <a:cs typeface="Courier New" panose="02070309020205020404" pitchFamily="49" charset="0"/>
              </a:rPr>
              <a:t>Wildcard </a:t>
            </a:r>
            <a:r>
              <a:rPr lang="en-GB" sz="2000" dirty="0">
                <a:cs typeface="Courier New" panose="02070309020205020404" pitchFamily="49" charset="0"/>
              </a:rPr>
              <a:t>_ Operator </a:t>
            </a:r>
            <a:r>
              <a:rPr lang="en-GB" sz="2000" dirty="0" smtClean="0">
                <a:cs typeface="Courier New" panose="02070309020205020404" pitchFamily="49" charset="0"/>
              </a:rPr>
              <a:t>Pattern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GB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message = "Unauthorized"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message: String = Unauthorized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GB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status = message match {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"Ok" =&gt; 200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_ =&gt; {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"Couldn't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arse $message")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-1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}</a:t>
            </a:r>
          </a:p>
          <a:p>
            <a:pPr marL="0" indent="0">
              <a:buNone/>
            </a:pPr>
            <a:endParaRPr lang="en-GB" dirty="0">
              <a:cs typeface="Courier New" panose="02070309020205020404" pitchFamily="49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gray">
          <a:xfrm>
            <a:off x="4921624" y="936812"/>
            <a:ext cx="3778624" cy="3790950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cs typeface="Courier New" panose="02070309020205020404" pitchFamily="49" charset="0"/>
              </a:rPr>
              <a:t>Matching Types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GB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x: 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= 12180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x: 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= 12180</a:t>
            </a:r>
          </a:p>
          <a:p>
            <a:pPr marL="0" indent="0">
              <a:buNone/>
            </a:pPr>
            <a:r>
              <a:rPr lang="es-E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s-E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s-E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y: </a:t>
            </a:r>
            <a:r>
              <a:rPr lang="es-E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ny</a:t>
            </a:r>
            <a:r>
              <a:rPr lang="es-E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= x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y: Any = 12180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y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x: String =&gt; 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"'x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'"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x: Double =&gt; f"$x%.2f"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x: Float =&gt; f"$x%.2f"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x: Long =&gt; s"${x}l"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GB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x: 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=&gt; s"${x}</a:t>
            </a: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pPr marL="0" indent="0">
              <a:buNone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GB" dirty="0"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596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oops - For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51099"/>
            <a:ext cx="8243888" cy="3849501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For (Simple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for (x &lt;- 1 to 7) {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Da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$x:") }</a:t>
            </a:r>
          </a:p>
          <a:p>
            <a:r>
              <a:rPr lang="en-US" sz="2000" noProof="0" dirty="0" smtClean="0"/>
              <a:t>For (with yield) 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for (x &lt;- 1 to 7) yield {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Da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$x:"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0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immutable.IndexedSeq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String] = Vector(Day 1:,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ay 2:, Day 3:, Day 4:, Day 5:, Day 6:, Day 7: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for (day &lt;- res0) print(day + ", "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ay 1:, Day 2:, Day 3:, Day 4:, Day 5:, Day 6:, Day 7:,</a:t>
            </a:r>
          </a:p>
          <a:p>
            <a:r>
              <a:rPr lang="en-US" sz="2000" noProof="0" dirty="0" smtClean="0"/>
              <a:t>For (filter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hrees = for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&lt;- 1 to 20 if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% 3 == 0) yield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hrees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immutable.IndexedSeq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Vector(3, 6, 9, 12, 15, 18)</a:t>
            </a:r>
          </a:p>
          <a:p>
            <a:pPr marL="400050" lvl="1" indent="0">
              <a:buNone/>
            </a:pPr>
            <a:endParaRPr lang="en-US" sz="105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sz="105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55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oops - For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180975" indent="-180975"/>
            <a:r>
              <a:rPr lang="en-US" sz="2000" noProof="0" dirty="0" smtClean="0">
                <a:cs typeface="ＭＳ Ｐゴシック" charset="0"/>
              </a:rPr>
              <a:t>For (Nested)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for { x &lt;- 1 to 2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y &lt;- 1 to 3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{ print(s"($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x,$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")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,1) (1,2) (1,3) (2,1) (2,2) (2,3)</a:t>
            </a:r>
          </a:p>
          <a:p>
            <a:pPr marL="400050" lvl="1" indent="0">
              <a:buNone/>
            </a:pP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lvl="1"/>
            <a:r>
              <a:rPr lang="en-US" sz="2000" noProof="0" dirty="0" smtClean="0">
                <a:cs typeface="ＭＳ Ｐゴシック" charset="0"/>
              </a:rPr>
              <a:t>For (functional)</a:t>
            </a:r>
          </a:p>
          <a:p>
            <a:pPr marL="0" lvl="1" indent="0">
              <a:buNone/>
            </a:pPr>
            <a:endParaRPr lang="en-US" sz="2000" noProof="0" dirty="0" smtClean="0">
              <a:cs typeface="ＭＳ Ｐゴシック" charset="0"/>
            </a:endParaRP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owersOf2 = for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&lt;- 0 to 8; pow = 1 &lt;&l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yield pow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owersOf2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immutable.IndexedSeq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Vector(1, 2, 4, 8, 16, 32, 64, 128, 256)</a:t>
            </a:r>
          </a:p>
          <a:p>
            <a:pPr marL="400050" lvl="1" indent="0">
              <a:buNone/>
            </a:pPr>
            <a:endParaRPr lang="en-US" sz="105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sz="105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79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Loops – While Do/Whi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17481"/>
            <a:ext cx="8243888" cy="3362325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Do not use them! (preferably with functional programming, but also not a dogma)</a:t>
            </a:r>
          </a:p>
          <a:p>
            <a:r>
              <a:rPr lang="en-US" sz="2000" noProof="0" dirty="0" smtClean="0"/>
              <a:t>While</a:t>
            </a:r>
            <a:endParaRPr lang="en-US" sz="20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10; while (x &gt; 0) x -= 1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0</a:t>
            </a:r>
          </a:p>
          <a:p>
            <a:pPr marL="180975" indent="-180975"/>
            <a:r>
              <a:rPr lang="en-US" sz="2000" noProof="0" dirty="0" smtClean="0">
                <a:cs typeface="ＭＳ Ｐゴシック" charset="0"/>
              </a:rPr>
              <a:t>Do / While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0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0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do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Here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 am, x = $x") while (x &gt; 0)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ere I am, x = 0</a:t>
            </a:r>
            <a:endParaRPr lang="en-US" sz="72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58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Exerci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b="1" noProof="0" dirty="0" smtClean="0"/>
              <a:t>Exercise 3 – Expressions and conditionals</a:t>
            </a:r>
          </a:p>
          <a:p>
            <a:endParaRPr lang="en-US" sz="32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200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en-US" noProof="0" dirty="0" smtClean="0"/>
              <a:t>AGENDA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60000">
              <a:buAutoNum type="arabicPeriod" startAt="7"/>
            </a:pPr>
            <a:r>
              <a:rPr lang="en-US" dirty="0" smtClean="0"/>
              <a:t>Common Collections</a:t>
            </a:r>
            <a:endParaRPr lang="en-US" noProof="0" dirty="0" smtClean="0"/>
          </a:p>
          <a:p>
            <a:pPr marL="360000">
              <a:buAutoNum type="arabicPeriod" startAt="7"/>
            </a:pPr>
            <a:r>
              <a:rPr lang="en-US" noProof="0" dirty="0" smtClean="0"/>
              <a:t>More Collections</a:t>
            </a:r>
          </a:p>
          <a:p>
            <a:pPr marL="360000">
              <a:buAutoNum type="arabicPeriod" startAt="7"/>
            </a:pPr>
            <a:r>
              <a:rPr lang="en-US" dirty="0" smtClean="0"/>
              <a:t>Classes</a:t>
            </a:r>
            <a:endParaRPr lang="en-US" noProof="0" dirty="0" smtClean="0"/>
          </a:p>
          <a:p>
            <a:pPr marL="360000">
              <a:buAutoNum type="arabicPeriod" startAt="7"/>
            </a:pPr>
            <a:r>
              <a:rPr lang="en-US" dirty="0" smtClean="0"/>
              <a:t>Objects, Case Classes &amp; Traits</a:t>
            </a:r>
            <a:endParaRPr lang="en-US" noProof="0" dirty="0" smtClean="0"/>
          </a:p>
          <a:p>
            <a:pPr marL="360000">
              <a:buAutoNum type="arabicPeriod" startAt="7"/>
            </a:pPr>
            <a:r>
              <a:rPr lang="en-US" dirty="0" smtClean="0"/>
              <a:t>Advanced Typing</a:t>
            </a:r>
            <a:endParaRPr lang="en-US" noProof="0" dirty="0" smtClean="0"/>
          </a:p>
          <a:p>
            <a:pPr marL="0" indent="0">
              <a:buNone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543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615553"/>
          </a:xfrm>
        </p:spPr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. Functions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60294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Functions (1 / 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84717"/>
            <a:ext cx="8243888" cy="3362325"/>
          </a:xfrm>
        </p:spPr>
        <p:txBody>
          <a:bodyPr>
            <a:noAutofit/>
          </a:bodyPr>
          <a:lstStyle/>
          <a:p>
            <a:r>
              <a:rPr lang="en-US" sz="2000" i="1" noProof="0" dirty="0" smtClean="0"/>
              <a:t>Functions </a:t>
            </a:r>
            <a:r>
              <a:rPr lang="en-US" sz="2000" noProof="0" dirty="0" smtClean="0"/>
              <a:t>are </a:t>
            </a:r>
            <a:r>
              <a:rPr lang="en-US" sz="2000" b="1" noProof="0" dirty="0" smtClean="0"/>
              <a:t>named</a:t>
            </a:r>
            <a:r>
              <a:rPr lang="en-US" sz="2000" noProof="0" dirty="0" smtClean="0"/>
              <a:t> and </a:t>
            </a:r>
            <a:r>
              <a:rPr lang="en-US" sz="2000" b="1" noProof="0" dirty="0" smtClean="0"/>
              <a:t>reusable</a:t>
            </a:r>
            <a:r>
              <a:rPr lang="en-US" sz="2000" noProof="0" dirty="0" smtClean="0"/>
              <a:t> expressions.</a:t>
            </a:r>
          </a:p>
          <a:p>
            <a:r>
              <a:rPr lang="en-US" sz="2000" noProof="0" dirty="0" smtClean="0"/>
              <a:t>They may be parametrized and may return a value</a:t>
            </a:r>
          </a:p>
          <a:p>
            <a:r>
              <a:rPr lang="en-US" sz="2000" noProof="0" dirty="0" smtClean="0"/>
              <a:t>Scala aims to build </a:t>
            </a:r>
            <a:r>
              <a:rPr lang="en-US" sz="2000" b="1" noProof="0" dirty="0" smtClean="0"/>
              <a:t>pure functions </a:t>
            </a:r>
            <a:r>
              <a:rPr lang="en-US" sz="2000" noProof="0" dirty="0" smtClean="0"/>
              <a:t>(functional programming) </a:t>
            </a:r>
          </a:p>
          <a:p>
            <a:r>
              <a:rPr lang="en-US" sz="2000" noProof="0" dirty="0" smtClean="0"/>
              <a:t>A </a:t>
            </a:r>
            <a:r>
              <a:rPr lang="en-US" sz="2000" b="1" noProof="0" dirty="0" smtClean="0"/>
              <a:t>pure function </a:t>
            </a:r>
            <a:r>
              <a:rPr lang="en-US" sz="2000" noProof="0" dirty="0" smtClean="0"/>
              <a:t>is one that:</a:t>
            </a:r>
          </a:p>
          <a:p>
            <a:pPr lvl="1"/>
            <a:r>
              <a:rPr lang="en-US" sz="2000" noProof="0" dirty="0" smtClean="0"/>
              <a:t>Has one or more input parameters</a:t>
            </a:r>
          </a:p>
          <a:p>
            <a:pPr lvl="1"/>
            <a:r>
              <a:rPr lang="en-US" sz="2000" noProof="0" dirty="0" smtClean="0"/>
              <a:t>Performs calculations using only the input parameters</a:t>
            </a:r>
          </a:p>
          <a:p>
            <a:pPr lvl="1"/>
            <a:r>
              <a:rPr lang="en-US" sz="2000" noProof="0" dirty="0" smtClean="0"/>
              <a:t>Returns a value</a:t>
            </a:r>
          </a:p>
          <a:p>
            <a:pPr lvl="1"/>
            <a:r>
              <a:rPr lang="en-US" sz="2000" noProof="0" dirty="0" smtClean="0"/>
              <a:t>Always returns the same value for the same input</a:t>
            </a:r>
          </a:p>
          <a:p>
            <a:pPr lvl="1"/>
            <a:r>
              <a:rPr lang="en-US" sz="2000" noProof="0" dirty="0" smtClean="0"/>
              <a:t>Does not </a:t>
            </a:r>
            <a:r>
              <a:rPr lang="en-US" sz="2000" b="1" noProof="0" dirty="0" smtClean="0"/>
              <a:t>use or affect any data outside </a:t>
            </a:r>
            <a:r>
              <a:rPr lang="en-US" sz="2000" noProof="0" dirty="0" smtClean="0"/>
              <a:t>the function</a:t>
            </a:r>
          </a:p>
          <a:p>
            <a:pPr lvl="1"/>
            <a:r>
              <a:rPr lang="en-US" sz="2000" b="1" noProof="0" dirty="0" smtClean="0"/>
              <a:t>Is not affected by any data outside </a:t>
            </a:r>
            <a:r>
              <a:rPr lang="en-US" sz="2000" noProof="0" dirty="0" smtClean="0"/>
              <a:t>the function</a:t>
            </a:r>
            <a:endParaRPr lang="en-US" sz="20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2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Functions (2 / 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24205"/>
            <a:ext cx="8243888" cy="3694860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Defining an Input-less Function – empty () can be used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i = "hi"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i: String</a:t>
            </a:r>
          </a:p>
          <a:p>
            <a:pPr marL="180975" lvl="1"/>
            <a:r>
              <a:rPr lang="en-US" sz="2000" noProof="0" dirty="0" smtClean="0">
                <a:cs typeface="ＭＳ Ｐゴシック" charset="0"/>
              </a:rPr>
              <a:t>Defining a Function with a Return Type (not mandatory except for recursive functions)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i: String = "hi"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i: String</a:t>
            </a:r>
          </a:p>
          <a:p>
            <a:r>
              <a:rPr lang="en-US" sz="2000" noProof="0" dirty="0" smtClean="0"/>
              <a:t>General Definition of a function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ultiplier(x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y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{ x * y }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ultiplier: (x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y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multiplier(6, 7)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0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42</a:t>
            </a:r>
          </a:p>
          <a:p>
            <a:pPr marL="0" indent="0">
              <a:buNone/>
            </a:pPr>
            <a:endParaRPr lang="en-US" sz="16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855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Functions (3 / 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1194" y="924205"/>
            <a:ext cx="8922124" cy="3876395"/>
          </a:xfrm>
        </p:spPr>
        <p:txBody>
          <a:bodyPr>
            <a:noAutofit/>
          </a:bodyPr>
          <a:lstStyle/>
          <a:p>
            <a:r>
              <a:rPr lang="en-US" sz="2000" b="1" noProof="0" dirty="0" smtClean="0"/>
              <a:t>Procedures</a:t>
            </a:r>
            <a:r>
              <a:rPr lang="en-US" sz="2000" noProof="0" dirty="0" smtClean="0"/>
              <a:t> -  Functions that don’t return a value (returns Unit) and end with a statement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og(d: Double): Unit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"Go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value $d%.2f")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og: (d: Double)Unit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log(2.23535)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Got value 2.24</a:t>
            </a:r>
          </a:p>
          <a:p>
            <a:pPr marL="285750"/>
            <a:r>
              <a:rPr lang="en-US" sz="2000" noProof="0" dirty="0" smtClean="0"/>
              <a:t>Function Invocation with Expression Blocks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matEuro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m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Double) = f"€$amt%.2f"</a:t>
            </a:r>
          </a:p>
          <a:p>
            <a:pPr marL="400050" lvl="1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matEuro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m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Double)String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matEuro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ate = 1.32; 0.235 + 0.7123 + rate * 5.32 }</a:t>
            </a:r>
          </a:p>
          <a:p>
            <a:pPr marL="40005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5: String = €7.97</a:t>
            </a:r>
          </a:p>
          <a:p>
            <a:endParaRPr lang="en-US" sz="16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80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Recursive Fun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7335"/>
            <a:ext cx="8243888" cy="3953436"/>
          </a:xfrm>
        </p:spPr>
        <p:txBody>
          <a:bodyPr>
            <a:normAutofit fontScale="92500" lnSpcReduction="20000"/>
          </a:bodyPr>
          <a:lstStyle/>
          <a:p>
            <a:r>
              <a:rPr lang="en-US" sz="2100" noProof="0" dirty="0" smtClean="0"/>
              <a:t>A </a:t>
            </a:r>
            <a:r>
              <a:rPr lang="en-US" sz="2100" b="1" i="1" noProof="0" dirty="0" smtClean="0"/>
              <a:t>recursive </a:t>
            </a:r>
            <a:r>
              <a:rPr lang="en-US" sz="2100" b="1" noProof="0" dirty="0" smtClean="0"/>
              <a:t>function </a:t>
            </a:r>
            <a:r>
              <a:rPr lang="en-US" sz="2100" noProof="0" dirty="0" smtClean="0"/>
              <a:t>is one that may </a:t>
            </a:r>
            <a:r>
              <a:rPr lang="en-US" sz="2100" b="1" noProof="0" dirty="0" smtClean="0"/>
              <a:t>invoke itself</a:t>
            </a:r>
            <a:r>
              <a:rPr lang="en-US" sz="2100" noProof="0" dirty="0" smtClean="0"/>
              <a:t>, preferably with some type of parameter or external condition that will be checked to avoid an infinite loop of function invocation</a:t>
            </a:r>
          </a:p>
          <a:p>
            <a:r>
              <a:rPr lang="en-US" sz="2100" b="1" dirty="0"/>
              <a:t>F</a:t>
            </a:r>
            <a:r>
              <a:rPr lang="en-US" sz="2100" b="1" noProof="0" dirty="0" err="1" smtClean="0"/>
              <a:t>unctional</a:t>
            </a:r>
            <a:r>
              <a:rPr lang="en-US" sz="2100" b="1" noProof="0" dirty="0" smtClean="0"/>
              <a:t> programming </a:t>
            </a:r>
            <a:r>
              <a:rPr lang="en-US" sz="2100" noProof="0" dirty="0" smtClean="0"/>
              <a:t>because they offer a way to iterate over data structures </a:t>
            </a:r>
            <a:r>
              <a:rPr lang="en-US" sz="2100" b="1" noProof="0" dirty="0" smtClean="0"/>
              <a:t>without mutable data</a:t>
            </a:r>
            <a:r>
              <a:rPr lang="en-US" sz="2100" noProof="0" dirty="0" smtClean="0"/>
              <a:t>. Each call has </a:t>
            </a:r>
            <a:r>
              <a:rPr lang="en-US" sz="2100" b="1" noProof="0" dirty="0" smtClean="0"/>
              <a:t>its own stack</a:t>
            </a:r>
          </a:p>
          <a:p>
            <a:r>
              <a:rPr lang="en-US" sz="2100" noProof="0" dirty="0" smtClean="0"/>
              <a:t>Always try to use </a:t>
            </a:r>
            <a:r>
              <a:rPr lang="en-US" sz="2100" b="1" noProof="0" dirty="0" smtClean="0"/>
              <a:t>tail recursion </a:t>
            </a:r>
            <a:r>
              <a:rPr lang="en-US" sz="2100" noProof="0" dirty="0" smtClean="0"/>
              <a:t>(last statement is the recursive invocation) and mark the function with the annotation </a:t>
            </a:r>
            <a:r>
              <a:rPr lang="en-US" sz="2100" b="1" noProof="0" dirty="0" smtClean="0"/>
              <a:t>@</a:t>
            </a:r>
            <a:r>
              <a:rPr lang="en-US" sz="2100" b="1" noProof="0" dirty="0" err="1" smtClean="0"/>
              <a:t>annotation.tailrec</a:t>
            </a:r>
            <a:endParaRPr lang="en-US" sz="2100" b="1" noProof="0" dirty="0" smtClean="0"/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@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nnotation.tailrec</a:t>
            </a:r>
            <a:endParaRPr lang="en-US" sz="19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ower(x: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n: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t: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):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{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if (n &lt; 1) t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else power(x, n-1, x*t)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ower: (x: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n: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t: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19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power(2,8)</a:t>
            </a:r>
          </a:p>
          <a:p>
            <a:pPr marL="400050" lvl="1" indent="0">
              <a:buNone/>
            </a:pP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9: </a:t>
            </a:r>
            <a:r>
              <a:rPr lang="en-US" sz="19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9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256</a:t>
            </a:r>
            <a:endParaRPr lang="en-US" sz="19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65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Other things about Functions (1/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60612"/>
            <a:ext cx="8585993" cy="3872753"/>
          </a:xfrm>
        </p:spPr>
        <p:txBody>
          <a:bodyPr>
            <a:normAutofit fontScale="70000" lnSpcReduction="20000"/>
          </a:bodyPr>
          <a:lstStyle/>
          <a:p>
            <a:r>
              <a:rPr lang="en-US" sz="2100" noProof="0" dirty="0" smtClean="0"/>
              <a:t>Nested Functions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x(a: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b: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c: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{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x(x: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y: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if (x &gt; y) x else y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max(a, max(b, c))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x: (a: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b: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c: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21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max(42, 181, 19)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0: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81</a:t>
            </a:r>
          </a:p>
          <a:p>
            <a:pPr marL="180975" lvl="1"/>
            <a:r>
              <a:rPr lang="en-US" sz="2100" noProof="0" dirty="0" smtClean="0">
                <a:cs typeface="ＭＳ Ｐゴシック" charset="0"/>
              </a:rPr>
              <a:t>Named Parameters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reet(prefix: String, name: String) =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$prefix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$name"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greet: (prefix: String, name: String)String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reeting = greet(name = "Brown", prefix = "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r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greeting: String =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r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rown</a:t>
            </a:r>
          </a:p>
          <a:p>
            <a:pPr marL="180975" lvl="1"/>
            <a:r>
              <a:rPr lang="en-US" sz="2100" noProof="0" dirty="0" smtClean="0">
                <a:cs typeface="ＭＳ Ｐゴシック" charset="0"/>
              </a:rPr>
              <a:t>Default Values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reet(prefix: String = "", name: String) = s"$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efix$name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greet: (prefix: String, name: String)String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reeting1 = greet(name = "Paul")</a:t>
            </a:r>
          </a:p>
          <a:p>
            <a:pPr marL="400050" lvl="1" indent="0">
              <a:buNone/>
            </a:pPr>
            <a:r>
              <a:rPr lang="en-US" sz="2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greeting1: String = Paul</a:t>
            </a:r>
            <a:endParaRPr lang="en-US" sz="21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Other things about Functions (2/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1036" y="848528"/>
            <a:ext cx="4377859" cy="3945348"/>
          </a:xfrm>
        </p:spPr>
        <p:txBody>
          <a:bodyPr>
            <a:noAutofit/>
          </a:bodyPr>
          <a:lstStyle/>
          <a:p>
            <a:r>
              <a:rPr lang="en-US" sz="1600" noProof="0" dirty="0" err="1" smtClean="0"/>
              <a:t>Var</a:t>
            </a:r>
            <a:r>
              <a:rPr lang="en-US" sz="1600" noProof="0" dirty="0" smtClean="0"/>
              <a:t> </a:t>
            </a:r>
            <a:r>
              <a:rPr lang="en-US" sz="1600" noProof="0" dirty="0" err="1" smtClean="0"/>
              <a:t>arg</a:t>
            </a:r>
            <a:r>
              <a:rPr lang="en-US" sz="1600" noProof="0" dirty="0" smtClean="0"/>
              <a:t> Parameters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cala&gt; 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def</a:t>
            </a: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sum(items: 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Int</a:t>
            </a: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*): 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Int</a:t>
            </a: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= {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| 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var</a:t>
            </a: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total = 0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| for (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i</a:t>
            </a: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&lt;- items) total += 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i</a:t>
            </a:r>
            <a:endParaRPr lang="en-US" sz="1400" kern="1200" noProof="0" dirty="0" smtClean="0"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| total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| }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um: (items: 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Int</a:t>
            </a: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*)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Int</a:t>
            </a:r>
            <a:endParaRPr lang="en-US" sz="1400" kern="1200" noProof="0" dirty="0" smtClean="0">
              <a:latin typeface="Courier New" panose="02070309020205020404" pitchFamily="49" charset="0"/>
              <a:ea typeface="+mn-ea"/>
              <a:cs typeface="Courier New" panose="02070309020205020404" pitchFamily="49" charset="0"/>
            </a:endParaRP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cala&gt; sum(10, 20, 30)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res11: 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Int</a:t>
            </a: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= 60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scala&gt; sum()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res12: </a:t>
            </a:r>
            <a:r>
              <a:rPr lang="en-US" sz="1400" kern="1200" noProof="0" dirty="0" err="1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Int</a:t>
            </a:r>
            <a:r>
              <a:rPr lang="en-US" sz="1400" kern="1200" noProof="0" dirty="0" smtClean="0">
                <a:latin typeface="Courier New" panose="02070309020205020404" pitchFamily="49" charset="0"/>
                <a:ea typeface="+mn-ea"/>
                <a:cs typeface="Courier New" panose="02070309020205020404" pitchFamily="49" charset="0"/>
              </a:rPr>
              <a:t> = 0</a:t>
            </a:r>
          </a:p>
          <a:p>
            <a:pPr marL="180975" lvl="1" fontAlgn="base">
              <a:spcBef>
                <a:spcPct val="20000"/>
              </a:spcBef>
              <a:spcAft>
                <a:spcPct val="20000"/>
              </a:spcAft>
              <a:buClr>
                <a:schemeClr val="accent1"/>
              </a:buClr>
              <a:buSzPct val="120000"/>
              <a:tabLst>
                <a:tab pos="1527175" algn="l"/>
              </a:tabLst>
            </a:pPr>
            <a:r>
              <a:rPr lang="en-US" sz="1600" dirty="0" smtClean="0">
                <a:ea typeface="ＭＳ Ｐゴシック" pitchFamily="34" charset="-128"/>
                <a:cs typeface="ＭＳ Ｐゴシック" charset="0"/>
              </a:rPr>
              <a:t>Parameter Groups (more about this later)</a:t>
            </a:r>
          </a:p>
          <a:p>
            <a:pPr marL="0" indent="0">
              <a:buNone/>
            </a:pPr>
            <a:r>
              <a:rPr lang="en-GB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max(x: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)(y: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) = if (x &gt; y) x else y</a:t>
            </a:r>
          </a:p>
          <a:p>
            <a:pPr marL="0" lvl="1" indent="0">
              <a:buNone/>
            </a:pPr>
            <a:r>
              <a:rPr lang="fr-FR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max: (x: Int)(y: Int)Int</a:t>
            </a:r>
          </a:p>
          <a:p>
            <a:pPr marL="0" lvl="1" indent="0">
              <a:buNone/>
            </a:pP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larger = max(20)(39)</a:t>
            </a:r>
          </a:p>
          <a:p>
            <a:pPr marL="0" lvl="1" indent="0">
              <a:buNone/>
            </a:pP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larger: 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GB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39</a:t>
            </a:r>
            <a:endParaRPr lang="en-GB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gray">
          <a:xfrm>
            <a:off x="4704914" y="848528"/>
            <a:ext cx="4023507" cy="39453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/>
            <a:r>
              <a:rPr lang="en-US" sz="1600" dirty="0" smtClean="0">
                <a:cs typeface="ＭＳ Ｐゴシック" charset="0"/>
              </a:rPr>
              <a:t>Type Parameters (like Generics)</a:t>
            </a:r>
          </a:p>
          <a:p>
            <a:pPr marL="0" lvl="1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dentity[A](a: A): A = a</a:t>
            </a:r>
          </a:p>
          <a:p>
            <a:pPr marL="0" lvl="1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dentity: [A](a: A)A</a:t>
            </a:r>
          </a:p>
          <a:p>
            <a:pPr marL="0" lvl="1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: String = identity[String]("Hello")</a:t>
            </a:r>
          </a:p>
          <a:p>
            <a:pPr marL="0" lvl="1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: String = Hello</a:t>
            </a:r>
          </a:p>
          <a:p>
            <a:pPr marL="0" lvl="1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d: Double = identity[Double](2.717)</a:t>
            </a:r>
          </a:p>
          <a:p>
            <a:pPr marL="0" lvl="1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: Double = 2.717</a:t>
            </a:r>
          </a:p>
          <a:p>
            <a:pPr marL="800100" lvl="2" indent="0">
              <a:buFont typeface="Wingdings" panose="05000000000000000000" pitchFamily="2" charset="2"/>
              <a:buNone/>
            </a:pPr>
            <a:endParaRPr lang="en-US" sz="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Font typeface="Wingdings" panose="05000000000000000000" pitchFamily="2" charset="2"/>
              <a:buNone/>
            </a:pP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470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Other things about Functions (3/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51099"/>
            <a:ext cx="8243888" cy="3362325"/>
          </a:xfrm>
        </p:spPr>
        <p:txBody>
          <a:bodyPr>
            <a:noAutofit/>
          </a:bodyPr>
          <a:lstStyle/>
          <a:p>
            <a:r>
              <a:rPr lang="en-US" sz="1800" noProof="0" dirty="0" smtClean="0">
                <a:cs typeface="ＭＳ Ｐゴシック" charset="0"/>
              </a:rPr>
              <a:t>Methods &amp; Operators</a:t>
            </a:r>
          </a:p>
          <a:p>
            <a:pPr marL="400050" lvl="2" indent="0">
              <a:buNone/>
            </a:pPr>
            <a:r>
              <a:rPr lang="en-US" sz="1800" noProof="0" dirty="0" smtClean="0"/>
              <a:t>A </a:t>
            </a:r>
            <a:r>
              <a:rPr lang="en-US" sz="1800" i="1" noProof="0" dirty="0" smtClean="0"/>
              <a:t>method </a:t>
            </a:r>
            <a:r>
              <a:rPr lang="en-US" sz="1800" noProof="0" dirty="0" smtClean="0"/>
              <a:t>is a function defined in a class and available from any instance of the class. (more about classes later)</a:t>
            </a:r>
          </a:p>
          <a:p>
            <a:pPr marL="800100" lvl="2" indent="0">
              <a:buNone/>
            </a:pPr>
            <a:endParaRPr lang="en-US" sz="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sz="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587253" y="2004304"/>
            <a:ext cx="3220570" cy="1520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14300">
              <a:lnSpc>
                <a:spcPct val="80000"/>
              </a:lnSpc>
              <a:spcBef>
                <a:spcPct val="20000"/>
              </a:spcBef>
            </a:pP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GB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d = 65.642</a:t>
            </a:r>
          </a:p>
          <a:p>
            <a:pPr indent="-114300">
              <a:lnSpc>
                <a:spcPct val="80000"/>
              </a:lnSpc>
              <a:spcBef>
                <a:spcPct val="20000"/>
              </a:spcBef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d: Double = 65.642</a:t>
            </a:r>
          </a:p>
          <a:p>
            <a:pPr indent="-114300">
              <a:lnSpc>
                <a:spcPct val="80000"/>
              </a:lnSpc>
              <a:spcBef>
                <a:spcPct val="20000"/>
              </a:spcBef>
            </a:pPr>
            <a:r>
              <a:rPr lang="en-GB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&gt; d.+(2.721)</a:t>
            </a:r>
          </a:p>
          <a:p>
            <a:pPr indent="-114300">
              <a:lnSpc>
                <a:spcPct val="80000"/>
              </a:lnSpc>
              <a:spcBef>
                <a:spcPct val="20000"/>
              </a:spcBef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res16: Double = 68.363</a:t>
            </a:r>
          </a:p>
          <a:p>
            <a:pPr indent="-114300">
              <a:lnSpc>
                <a:spcPct val="80000"/>
              </a:lnSpc>
              <a:spcBef>
                <a:spcPct val="20000"/>
              </a:spcBef>
            </a:pPr>
            <a:endParaRPr lang="es-E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5587253" y="3236536"/>
            <a:ext cx="2900153" cy="12741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indent="-114300">
              <a:lnSpc>
                <a:spcPct val="80000"/>
              </a:lnSpc>
              <a:spcBef>
                <a:spcPct val="20000"/>
              </a:spcBef>
            </a:pPr>
            <a:r>
              <a:rPr lang="en-GB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d compare 18.0</a:t>
            </a:r>
          </a:p>
          <a:p>
            <a:pPr indent="-114300">
              <a:lnSpc>
                <a:spcPct val="80000"/>
              </a:lnSpc>
              <a:spcBef>
                <a:spcPct val="20000"/>
              </a:spcBef>
            </a:pPr>
            <a:r>
              <a:rPr lang="en-GB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7: </a:t>
            </a:r>
            <a:r>
              <a:rPr lang="en-GB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</a:t>
            </a:r>
          </a:p>
          <a:p>
            <a:pPr indent="-114300">
              <a:lnSpc>
                <a:spcPct val="80000"/>
              </a:lnSpc>
              <a:spcBef>
                <a:spcPct val="20000"/>
              </a:spcBef>
            </a:pPr>
            <a:r>
              <a:rPr lang="en-GB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d + 2.721</a:t>
            </a:r>
          </a:p>
          <a:p>
            <a:pPr indent="-114300">
              <a:lnSpc>
                <a:spcPct val="80000"/>
              </a:lnSpc>
              <a:spcBef>
                <a:spcPct val="20000"/>
              </a:spcBef>
            </a:pPr>
            <a:r>
              <a:rPr lang="en-GB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8: Double = 68.363</a:t>
            </a:r>
          </a:p>
          <a:p>
            <a:endParaRPr lang="en-GB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161974" y="2053548"/>
            <a:ext cx="5317702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14300"/>
            <a:r>
              <a:rPr lang="es-E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s-E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s-E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s-E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 = "vacation.jpg"</a:t>
            </a:r>
          </a:p>
          <a:p>
            <a:pPr marL="0" lvl="1" fontAlgn="base">
              <a:spcBef>
                <a:spcPct val="20000"/>
              </a:spcBef>
              <a:spcAft>
                <a:spcPct val="20000"/>
              </a:spcAft>
              <a:buClr>
                <a:schemeClr val="accent1"/>
              </a:buClr>
              <a:buSzPct val="120000"/>
              <a:tabLst>
                <a:tab pos="1527175" algn="l"/>
              </a:tabLst>
            </a:pPr>
            <a:r>
              <a:rPr lang="es-E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: </a:t>
            </a:r>
            <a:r>
              <a:rPr lang="es-E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es-E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= vacation.jpg</a:t>
            </a:r>
          </a:p>
          <a:p>
            <a:pPr indent="-114300"/>
            <a:r>
              <a:rPr lang="es-E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s-E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s-E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s-E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s-E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JPEG</a:t>
            </a:r>
            <a:r>
              <a:rPr lang="es-E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s-E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.endsWith</a:t>
            </a:r>
            <a:r>
              <a:rPr lang="es-E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.</a:t>
            </a:r>
            <a:r>
              <a:rPr lang="es-E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pg</a:t>
            </a:r>
            <a:r>
              <a:rPr lang="es-E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indent="-114300"/>
            <a:r>
              <a:rPr lang="es-E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JPEG</a:t>
            </a:r>
            <a:r>
              <a:rPr lang="es-E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s-E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lean</a:t>
            </a:r>
            <a:r>
              <a:rPr lang="es-E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true</a:t>
            </a:r>
          </a:p>
          <a:p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21522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Exerci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4400" b="1" noProof="0" dirty="0" smtClean="0"/>
              <a:t>Exercise 4 – Functions</a:t>
            </a:r>
          </a:p>
          <a:p>
            <a:endParaRPr lang="en-US" sz="4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8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615553"/>
          </a:xfrm>
        </p:spPr>
        <p:txBody>
          <a:bodyPr/>
          <a:lstStyle/>
          <a:p>
            <a:r>
              <a:rPr lang="en-US" dirty="0" smtClean="0"/>
              <a:t>6. </a:t>
            </a:r>
            <a:r>
              <a:rPr lang="en-US" dirty="0"/>
              <a:t>First-class functions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23300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475097"/>
            <a:ext cx="6692104" cy="245260"/>
          </a:xfrm>
        </p:spPr>
        <p:txBody>
          <a:bodyPr/>
          <a:lstStyle/>
          <a:p>
            <a:r>
              <a:rPr lang="en-US" sz="2800" noProof="0" dirty="0" smtClean="0"/>
              <a:t>Scope of the course</a:t>
            </a:r>
            <a:endParaRPr lang="en-US" sz="280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55" name="Inhaltsplatzhalter 5"/>
          <p:cNvSpPr>
            <a:spLocks noGrp="1"/>
          </p:cNvSpPr>
          <p:nvPr>
            <p:ph idx="1"/>
          </p:nvPr>
        </p:nvSpPr>
        <p:spPr>
          <a:xfrm>
            <a:off x="438150" y="910756"/>
            <a:ext cx="4523815" cy="331161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s-ES" sz="1800" dirty="0" err="1" smtClean="0"/>
              <a:t>Introduction</a:t>
            </a:r>
            <a:r>
              <a:rPr lang="es-ES" sz="1800" dirty="0" smtClean="0"/>
              <a:t> to </a:t>
            </a:r>
            <a:r>
              <a:rPr lang="es-ES" sz="1800" dirty="0" err="1" smtClean="0"/>
              <a:t>Scala</a:t>
            </a:r>
            <a:r>
              <a:rPr lang="es-ES" sz="1800" dirty="0" smtClean="0"/>
              <a:t> </a:t>
            </a:r>
            <a:r>
              <a:rPr lang="es-ES" sz="1800" dirty="0" err="1" smtClean="0"/>
              <a:t>with</a:t>
            </a:r>
            <a:r>
              <a:rPr lang="es-ES" sz="1800" dirty="0" smtClean="0"/>
              <a:t>:</a:t>
            </a:r>
            <a:endParaRPr lang="en-US" sz="1800" b="0" noProof="0" dirty="0" smtClean="0"/>
          </a:p>
          <a:p>
            <a:pPr lvl="1"/>
            <a:r>
              <a:rPr lang="en-US" sz="1600" noProof="0" dirty="0" smtClean="0"/>
              <a:t>Lectures</a:t>
            </a:r>
          </a:p>
          <a:p>
            <a:pPr lvl="1"/>
            <a:r>
              <a:rPr lang="en-US" altLang="de-DE" sz="1600" noProof="0" dirty="0" smtClean="0"/>
              <a:t>Hands-on exercises</a:t>
            </a:r>
          </a:p>
          <a:p>
            <a:pPr lvl="1"/>
            <a:r>
              <a:rPr lang="en-US" altLang="de-DE" sz="1600" noProof="0" dirty="0" smtClean="0"/>
              <a:t>Virtual Machine</a:t>
            </a:r>
          </a:p>
          <a:p>
            <a:pPr lvl="1"/>
            <a:r>
              <a:rPr lang="en-US" sz="1600" dirty="0"/>
              <a:t>A</a:t>
            </a:r>
            <a:r>
              <a:rPr lang="en-US" sz="1600" dirty="0" smtClean="0"/>
              <a:t>nd </a:t>
            </a:r>
            <a:r>
              <a:rPr lang="en-US" sz="1600" dirty="0"/>
              <a:t>much more </a:t>
            </a:r>
            <a:r>
              <a:rPr lang="en-US" sz="1600" dirty="0" smtClean="0"/>
              <a:t>…</a:t>
            </a:r>
            <a:endParaRPr lang="en-US" sz="1600" dirty="0"/>
          </a:p>
          <a:p>
            <a:pPr lvl="1"/>
            <a:endParaRPr lang="en-US" altLang="de-DE" sz="1600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1800" noProof="0" dirty="0" smtClean="0"/>
              <a:t>Course Materials available in GitHub</a:t>
            </a:r>
            <a:endParaRPr lang="en-US" altLang="de-DE" sz="1800" b="1" noProof="0" dirty="0" smtClean="0"/>
          </a:p>
          <a:p>
            <a:pPr marL="179388" lvl="1" indent="0">
              <a:buNone/>
            </a:pPr>
            <a:endParaRPr lang="en-US" sz="1600" noProof="0" dirty="0" smtClean="0"/>
          </a:p>
          <a:p>
            <a:pPr marL="179388" lvl="1" indent="0">
              <a:buNone/>
            </a:pPr>
            <a:r>
              <a:rPr lang="en-US" altLang="de-DE" sz="1100" dirty="0"/>
              <a:t>https://github.com/chicochica10/spark-scala-developer</a:t>
            </a:r>
            <a:endParaRPr lang="en-US" altLang="de-DE" sz="1100" noProof="0" dirty="0"/>
          </a:p>
        </p:txBody>
      </p:sp>
      <p:sp>
        <p:nvSpPr>
          <p:cNvPr id="2" name="Rounded Rectangle 1"/>
          <p:cNvSpPr/>
          <p:nvPr/>
        </p:nvSpPr>
        <p:spPr>
          <a:xfrm>
            <a:off x="625289" y="4289612"/>
            <a:ext cx="3691216" cy="369794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alpha val="75000"/>
            </a:schemeClr>
          </a:solidFill>
          <a:ln w="508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ontact me if you need help !!</a:t>
            </a:r>
          </a:p>
        </p:txBody>
      </p:sp>
    </p:spTree>
    <p:extLst>
      <p:ext uri="{BB962C8B-B14F-4D97-AF65-F5344CB8AC3E}">
        <p14:creationId xmlns:p14="http://schemas.microsoft.com/office/powerpoint/2010/main" val="258712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First Order Fun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7"/>
            <a:ext cx="8243888" cy="3600731"/>
          </a:xfrm>
        </p:spPr>
        <p:txBody>
          <a:bodyPr>
            <a:noAutofit/>
          </a:bodyPr>
          <a:lstStyle/>
          <a:p>
            <a:r>
              <a:rPr lang="en-US" sz="2400" noProof="0" dirty="0" smtClean="0"/>
              <a:t>Can be created in </a:t>
            </a:r>
            <a:r>
              <a:rPr lang="en-US" sz="2400" b="1" noProof="0" dirty="0" smtClean="0"/>
              <a:t>literal form </a:t>
            </a:r>
            <a:r>
              <a:rPr lang="en-US" sz="2400" noProof="0" dirty="0" smtClean="0"/>
              <a:t>without ever having been assigned an identifier</a:t>
            </a:r>
          </a:p>
          <a:p>
            <a:r>
              <a:rPr lang="en-US" sz="2400" noProof="0" dirty="0" smtClean="0"/>
              <a:t>Be </a:t>
            </a:r>
            <a:r>
              <a:rPr lang="en-US" sz="2400" b="1" noProof="0" dirty="0" smtClean="0"/>
              <a:t>stored in a container </a:t>
            </a:r>
            <a:r>
              <a:rPr lang="en-US" sz="2400" noProof="0" dirty="0" smtClean="0"/>
              <a:t>such as a value, variable, or data structure</a:t>
            </a:r>
          </a:p>
          <a:p>
            <a:r>
              <a:rPr lang="en-US" sz="2400" noProof="0" dirty="0" smtClean="0"/>
              <a:t>Be </a:t>
            </a:r>
            <a:r>
              <a:rPr lang="en-US" sz="2400" b="1" noProof="0" dirty="0" smtClean="0"/>
              <a:t>used as a parameter </a:t>
            </a:r>
            <a:r>
              <a:rPr lang="en-US" sz="2400" noProof="0" dirty="0" smtClean="0"/>
              <a:t>to another function or used as the </a:t>
            </a:r>
            <a:r>
              <a:rPr lang="en-US" sz="2400" b="1" noProof="0" dirty="0" smtClean="0"/>
              <a:t>return value </a:t>
            </a:r>
            <a:r>
              <a:rPr lang="en-US" sz="2400" noProof="0" dirty="0" smtClean="0"/>
              <a:t>from another function.</a:t>
            </a:r>
          </a:p>
          <a:p>
            <a:r>
              <a:rPr lang="en-US" sz="2400" noProof="0" dirty="0" smtClean="0"/>
              <a:t>The final goal is make </a:t>
            </a:r>
            <a:r>
              <a:rPr lang="en-US" sz="2400" b="1" noProof="0" dirty="0" smtClean="0"/>
              <a:t>declarative programming / functional programing</a:t>
            </a:r>
            <a:r>
              <a:rPr lang="en-US" sz="2400" noProof="0" dirty="0" smtClean="0"/>
              <a:t> (what to do) instead imperative programming (how to do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0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Function Types and Values (1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236" y="944375"/>
            <a:ext cx="4128293" cy="3755371"/>
          </a:xfrm>
        </p:spPr>
        <p:txBody>
          <a:bodyPr>
            <a:noAutofit/>
          </a:bodyPr>
          <a:lstStyle/>
          <a:p>
            <a:r>
              <a:rPr lang="en-US" sz="1400" noProof="0" dirty="0" smtClean="0"/>
              <a:t>The </a:t>
            </a:r>
            <a:r>
              <a:rPr lang="en-US" sz="1400" i="1" noProof="0" dirty="0" smtClean="0"/>
              <a:t>type </a:t>
            </a:r>
            <a:r>
              <a:rPr lang="en-US" sz="1400" noProof="0" dirty="0" smtClean="0"/>
              <a:t>of a function is a simple grouping of its input types and return value type</a:t>
            </a:r>
          </a:p>
          <a:p>
            <a:pPr marL="0" indent="0">
              <a:buNone/>
            </a:pPr>
            <a:endParaRPr lang="en-US" sz="1050" noProof="0" dirty="0" smtClean="0"/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double(x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x * 2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ouble: (x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double(5)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0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0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double</a:t>
            </a:r>
          </a:p>
          <a:p>
            <a:pPr marL="0" indent="0">
              <a:buNone/>
            </a:pP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&lt;function1&gt;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5)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0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Copy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</a:t>
            </a:r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Copy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&lt;function1&gt;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Copy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5)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2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0</a:t>
            </a:r>
            <a:endParaRPr lang="en-US" sz="1200" noProof="0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sz="1000" noProof="0" dirty="0" smtClean="0"/>
          </a:p>
          <a:p>
            <a:pPr marL="400050" lvl="1" indent="0">
              <a:buNone/>
            </a:pPr>
            <a:endParaRPr lang="en-US" sz="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sz="8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gray">
          <a:xfrm>
            <a:off x="4572000" y="944376"/>
            <a:ext cx="4424083" cy="37553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cs typeface="ＭＳ Ｐゴシック" charset="0"/>
              </a:rPr>
              <a:t>Assigning a Function with _  (to distinguish it from invocation)</a:t>
            </a:r>
          </a:p>
          <a:p>
            <a:endParaRPr lang="en-US" dirty="0" smtClean="0">
              <a:cs typeface="ＭＳ Ｐゴシック" charset="0"/>
            </a:endParaRP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double(x: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: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x * 2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ouble: (x: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double _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&lt;function1&gt;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mount =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Double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0)</a:t>
            </a:r>
          </a:p>
          <a:p>
            <a:pPr marL="3175" indent="0">
              <a:buFont typeface="Wingdings" panose="05000000000000000000" pitchFamily="2" charset="2"/>
              <a:buNone/>
            </a:pP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mount: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40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sz="1000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sz="1000" dirty="0" smtClean="0"/>
          </a:p>
          <a:p>
            <a:pPr marL="400050" lvl="1" indent="0">
              <a:buFont typeface="Wingdings" panose="05000000000000000000" pitchFamily="2" charset="2"/>
              <a:buNone/>
            </a:pPr>
            <a:endParaRPr lang="en-US" sz="8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Font typeface="Wingdings" panose="05000000000000000000" pitchFamily="2" charset="2"/>
              <a:buNone/>
            </a:pP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226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Function Types and Values (2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2961437"/>
            <a:ext cx="8041387" cy="1731589"/>
          </a:xfrm>
        </p:spPr>
        <p:txBody>
          <a:bodyPr>
            <a:noAutofit/>
          </a:bodyPr>
          <a:lstStyle/>
          <a:p>
            <a:r>
              <a:rPr lang="en-US" sz="1600" noProof="0" dirty="0" smtClean="0">
                <a:cs typeface="ＭＳ Ｐゴシック" charset="0"/>
              </a:rPr>
              <a:t>Function type with multiples parameters</a:t>
            </a:r>
            <a:endParaRPr lang="en-US" noProof="0" dirty="0" smtClean="0">
              <a:cs typeface="ＭＳ Ｐゴシック" charset="0"/>
            </a:endParaRPr>
          </a:p>
          <a:p>
            <a:pPr marL="31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x(a: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b: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if (a &gt; b) a else b</a:t>
            </a:r>
          </a:p>
          <a:p>
            <a:pPr marL="31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x: (a: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b: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1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ximize: (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max</a:t>
            </a:r>
          </a:p>
          <a:p>
            <a:pPr marL="31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ximize: (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&lt;function2&gt;</a:t>
            </a:r>
          </a:p>
          <a:p>
            <a:pPr marL="31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maximize(50, 30)</a:t>
            </a:r>
          </a:p>
          <a:p>
            <a:pPr marL="3175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3: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50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sz="1000" noProof="0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sz="1000" noProof="0" dirty="0" smtClean="0"/>
          </a:p>
          <a:p>
            <a:pPr marL="400050" lvl="1" indent="0">
              <a:buNone/>
            </a:pPr>
            <a:endParaRPr lang="en-US" sz="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sz="8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gray">
          <a:xfrm>
            <a:off x="449264" y="835114"/>
            <a:ext cx="7924613" cy="20896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>
                <a:cs typeface="ＭＳ Ｐゴシック" charset="0"/>
              </a:rPr>
              <a:t>Function type with no parameters</a:t>
            </a:r>
            <a:endParaRPr lang="en-US" dirty="0" smtClean="0">
              <a:cs typeface="ＭＳ Ｐゴシック" charset="0"/>
            </a:endParaRPr>
          </a:p>
          <a:p>
            <a:pPr marL="0" lvl="1" indent="0">
              <a:spcBef>
                <a:spcPct val="20000"/>
              </a:spcBef>
              <a:buNone/>
            </a:pP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GB" sz="1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gStart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 = "=" * 50 + "\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Starting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NOW\n" </a:t>
            </a:r>
            <a:endParaRPr lang="en-GB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spcBef>
                <a:spcPct val="20000"/>
              </a:spcBef>
              <a:buNone/>
            </a:pPr>
            <a:r>
              <a:rPr lang="en-GB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gStart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 ()String</a:t>
            </a:r>
          </a:p>
          <a:p>
            <a:pPr marL="0" lvl="1" indent="0">
              <a:spcBef>
                <a:spcPct val="20000"/>
              </a:spcBef>
              <a:buNone/>
            </a:pPr>
            <a:r>
              <a:rPr lang="nn-NO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nn-NO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nn-NO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start: () =&gt; String = logStart</a:t>
            </a:r>
          </a:p>
          <a:p>
            <a:pPr marL="0" lvl="1" indent="0">
              <a:spcBef>
                <a:spcPct val="20000"/>
              </a:spcBef>
              <a:buNone/>
            </a:pP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start: () =&gt; String = &lt;function0&gt;</a:t>
            </a:r>
          </a:p>
          <a:p>
            <a:pPr marL="0" lvl="1" indent="0">
              <a:spcBef>
                <a:spcPct val="20000"/>
              </a:spcBef>
              <a:buNone/>
            </a:pP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 start() )</a:t>
            </a:r>
          </a:p>
          <a:p>
            <a:pPr marL="0" lvl="1" indent="0">
              <a:spcBef>
                <a:spcPct val="20000"/>
              </a:spcBef>
              <a:buNone/>
            </a:pP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=====================================</a:t>
            </a:r>
          </a:p>
          <a:p>
            <a:pPr marL="0" lvl="1" indent="0">
              <a:spcBef>
                <a:spcPct val="20000"/>
              </a:spcBef>
              <a:buNone/>
            </a:pP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Starting </a:t>
            </a:r>
            <a:r>
              <a:rPr lang="en-GB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OW</a:t>
            </a:r>
            <a:endParaRPr lang="en-GB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689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Higher-Order Fun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44376"/>
            <a:ext cx="8243888" cy="3755371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Functions that have a function type as an input parameter or return value.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: String, f: String =&gt; String) = {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if (s != null) f(s) else s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3175" lvl="1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s: String, f: String =&gt; String)String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verser(s: String)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.reverse</a:t>
            </a: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verser: (s: String)String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ull, reverser)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4: String = null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Ready", reverser)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5: String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ydaeR</a:t>
            </a:r>
            <a:endParaRPr lang="en-US" sz="18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971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309282"/>
            <a:ext cx="6692104" cy="443752"/>
          </a:xfrm>
        </p:spPr>
        <p:txBody>
          <a:bodyPr>
            <a:noAutofit/>
          </a:bodyPr>
          <a:lstStyle/>
          <a:p>
            <a:r>
              <a:rPr lang="en-US" sz="1800" noProof="0" dirty="0" smtClean="0"/>
              <a:t>Functions Literals or Anonymous Functions or Lambdas expressions ( 1 / 2)</a:t>
            </a:r>
            <a:endParaRPr lang="en-US" sz="18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2222" y="900953"/>
            <a:ext cx="8703733" cy="3886200"/>
          </a:xfrm>
        </p:spPr>
        <p:txBody>
          <a:bodyPr>
            <a:normAutofit/>
          </a:bodyPr>
          <a:lstStyle/>
          <a:p>
            <a:r>
              <a:rPr lang="en-US" sz="2400" noProof="0" dirty="0" smtClean="0"/>
              <a:t>A function that lacks a name</a:t>
            </a:r>
          </a:p>
          <a:p>
            <a:pPr marL="358775" lvl="2"/>
            <a:r>
              <a:rPr lang="en-US" sz="2000" noProof="0" dirty="0" smtClean="0">
                <a:cs typeface="Courier New" panose="02070309020205020404" pitchFamily="49" charset="0"/>
              </a:rPr>
              <a:t>One parameter</a:t>
            </a:r>
          </a:p>
          <a:p>
            <a:pPr marL="3556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ubler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(x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x * 2</a:t>
            </a:r>
          </a:p>
          <a:p>
            <a:pPr marL="355600" lvl="2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ubler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&lt;function1&gt;</a:t>
            </a:r>
          </a:p>
          <a:p>
            <a:pPr marL="3556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doubled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ubler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2)</a:t>
            </a:r>
          </a:p>
          <a:p>
            <a:pPr marL="3556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oubled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44</a:t>
            </a:r>
          </a:p>
          <a:p>
            <a:pPr marL="358775" lvl="2" indent="-163513"/>
            <a:r>
              <a:rPr lang="en-US" sz="2000" dirty="0" smtClean="0">
                <a:cs typeface="Courier New" panose="02070309020205020404" pitchFamily="49" charset="0"/>
              </a:rPr>
              <a:t>Two parameters</a:t>
            </a:r>
            <a:endParaRPr lang="en-US" sz="2000" noProof="0" dirty="0" smtClean="0">
              <a:cs typeface="Courier New" panose="02070309020205020404" pitchFamily="49" charset="0"/>
            </a:endParaRPr>
          </a:p>
          <a:p>
            <a:pPr marL="3556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ximize = (a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b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if (a &gt; b) a else b</a:t>
            </a:r>
          </a:p>
          <a:p>
            <a:pPr marL="3556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ximize: 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&lt;function2&gt;</a:t>
            </a:r>
          </a:p>
          <a:p>
            <a:pPr marL="3556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maximize(84, 96)</a:t>
            </a:r>
          </a:p>
          <a:p>
            <a:pPr marL="355600" lvl="2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6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96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76436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9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Functions Literals (2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51099"/>
            <a:ext cx="8491864" cy="3362325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Can be used in higher-order functions</a:t>
            </a:r>
          </a:p>
          <a:p>
            <a:pPr marL="0" indent="0">
              <a:buNone/>
            </a:pPr>
            <a:endParaRPr lang="en-US" sz="2000" noProof="0" dirty="0" smtClean="0"/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: String, f: String =&gt; String) = {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if (s != null) f(s) else s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3175" lvl="1" indent="0">
              <a:buNone/>
            </a:pP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s: String, f: String =&gt; String)String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ull, (s: String) =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.reverse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7: String = null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Ready", (s: String) =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.reverse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3175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8: String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ydaeR</a:t>
            </a: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96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laceholder _ Syntax (1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809905"/>
            <a:ext cx="8243888" cy="3970524"/>
          </a:xfrm>
        </p:spPr>
        <p:txBody>
          <a:bodyPr>
            <a:noAutofit/>
          </a:bodyPr>
          <a:lstStyle/>
          <a:p>
            <a:pPr lvl="0"/>
            <a:r>
              <a:rPr lang="en-US" sz="1800" noProof="0" dirty="0" smtClean="0"/>
              <a:t>Shortened form of functions literals </a:t>
            </a:r>
          </a:p>
          <a:p>
            <a:pPr lvl="1"/>
            <a:r>
              <a:rPr lang="en-US" sz="1600" noProof="0" dirty="0" smtClean="0"/>
              <a:t>If the function type is outside the literal and the parameter is </a:t>
            </a:r>
            <a:r>
              <a:rPr lang="en-US" sz="1600" b="1" noProof="0" dirty="0" smtClean="0"/>
              <a:t>used only once</a:t>
            </a:r>
            <a:endParaRPr lang="en-US" sz="1600" noProof="0" dirty="0" smtClean="0"/>
          </a:p>
          <a:p>
            <a:r>
              <a:rPr lang="en-US" sz="1800" b="1" dirty="0" smtClean="0"/>
              <a:t>Example 1</a:t>
            </a:r>
            <a:endParaRPr lang="en-US" b="1" dirty="0"/>
          </a:p>
          <a:p>
            <a:pPr marL="179388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ubl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_ * 2</a:t>
            </a:r>
          </a:p>
          <a:p>
            <a:pPr marL="179388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ubl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&lt;function1&gt;</a:t>
            </a:r>
            <a:endParaRPr lang="en-US" sz="1100" noProof="0" dirty="0" smtClean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b="1" noProof="0" dirty="0" smtClean="0"/>
              <a:t>Example 2</a:t>
            </a:r>
            <a:endParaRPr lang="en-US" dirty="0">
              <a:solidFill>
                <a:prstClr val="black"/>
              </a:solidFill>
            </a:endParaRPr>
          </a:p>
          <a:p>
            <a:pPr marL="180975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: String, f: String =&gt; String) = {</a:t>
            </a:r>
          </a:p>
          <a:p>
            <a:pPr marL="180975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if (s != null) f(s) else s</a:t>
            </a:r>
          </a:p>
          <a:p>
            <a:pPr marL="180975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lvl="2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s: String, f: String =&gt; String)String</a:t>
            </a:r>
          </a:p>
          <a:p>
            <a:pPr marL="180975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ull, _.reverse)</a:t>
            </a:r>
          </a:p>
          <a:p>
            <a:pPr marL="180975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1: String = null</a:t>
            </a:r>
          </a:p>
          <a:p>
            <a:pPr marL="180975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Ready", _.reverse)</a:t>
            </a:r>
          </a:p>
          <a:p>
            <a:pPr marL="180975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2: String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ydaeR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71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laceholder _ Syntax (2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067" y="883864"/>
            <a:ext cx="8812804" cy="3889842"/>
          </a:xfrm>
        </p:spPr>
        <p:txBody>
          <a:bodyPr>
            <a:noAutofit/>
          </a:bodyPr>
          <a:lstStyle/>
          <a:p>
            <a:r>
              <a:rPr lang="en-US" sz="1800" b="1" noProof="0" dirty="0" smtClean="0"/>
              <a:t>Example 3</a:t>
            </a:r>
          </a:p>
          <a:p>
            <a:pPr marL="0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O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A,B](a: A, b: A, c: A, f: (A, A, A) =&gt; B) = f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,b,c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lvl="2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O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[A, B](a: A, b: A, c: A, f: (A, A, A) =&gt; B)B</a:t>
            </a:r>
          </a:p>
          <a:p>
            <a:pPr marL="0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O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,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(1, 1, 1, _ + _ - _)</a:t>
            </a:r>
          </a:p>
          <a:p>
            <a:pPr marL="0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5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O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,Doubl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(23, 92, 14, 1.0 * _ / _ / _)</a:t>
            </a:r>
          </a:p>
          <a:p>
            <a:pPr marL="0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6: Double = 0.017857142857142856</a:t>
            </a:r>
          </a:p>
          <a:p>
            <a:pPr marL="0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ipleO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,Boolea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(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3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1, 1, _ &gt; _ + _)</a:t>
            </a:r>
          </a:p>
          <a:p>
            <a:pPr marL="0" lvl="2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7: Boolean = fals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40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noProof="0" dirty="0" smtClean="0"/>
              <a:t>Partially Applied Functions and Currying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490" y="809904"/>
            <a:ext cx="8788316" cy="4004143"/>
          </a:xfrm>
        </p:spPr>
        <p:txBody>
          <a:bodyPr>
            <a:normAutofit fontScale="92500"/>
          </a:bodyPr>
          <a:lstStyle/>
          <a:p>
            <a:r>
              <a:rPr lang="en-US" sz="2400" dirty="0" err="1"/>
              <a:t>def</a:t>
            </a:r>
            <a:r>
              <a:rPr lang="en-US" sz="2400" dirty="0"/>
              <a:t> </a:t>
            </a:r>
            <a:r>
              <a:rPr lang="en-US" sz="2400" dirty="0" err="1"/>
              <a:t>factorOf</a:t>
            </a:r>
            <a:r>
              <a:rPr lang="en-US" sz="2400" dirty="0"/>
              <a:t>(x: </a:t>
            </a:r>
            <a:r>
              <a:rPr lang="en-US" sz="2400" dirty="0" err="1"/>
              <a:t>Int</a:t>
            </a:r>
            <a:r>
              <a:rPr lang="en-US" sz="2400" dirty="0"/>
              <a:t>, y: </a:t>
            </a:r>
            <a:r>
              <a:rPr lang="en-US" sz="2400" dirty="0" err="1"/>
              <a:t>Int</a:t>
            </a:r>
            <a:r>
              <a:rPr lang="en-US" sz="2400" dirty="0"/>
              <a:t>) has the function type (</a:t>
            </a:r>
            <a:r>
              <a:rPr lang="en-US" sz="2400" dirty="0" err="1"/>
              <a:t>Int</a:t>
            </a:r>
            <a:r>
              <a:rPr lang="en-US" sz="2400" dirty="0"/>
              <a:t>, </a:t>
            </a:r>
            <a:r>
              <a:rPr lang="en-US" sz="2400" dirty="0" err="1"/>
              <a:t>Int</a:t>
            </a:r>
            <a:r>
              <a:rPr lang="en-US" sz="2400" dirty="0"/>
              <a:t>) =&gt; Boolean</a:t>
            </a:r>
          </a:p>
          <a:p>
            <a:r>
              <a:rPr lang="en-US" sz="2400" dirty="0" err="1"/>
              <a:t>def</a:t>
            </a:r>
            <a:r>
              <a:rPr lang="en-US" sz="2400" dirty="0"/>
              <a:t> </a:t>
            </a:r>
            <a:r>
              <a:rPr lang="en-US" sz="2400" dirty="0" err="1"/>
              <a:t>factorOf</a:t>
            </a:r>
            <a:r>
              <a:rPr lang="en-US" sz="2400" dirty="0"/>
              <a:t>(x: </a:t>
            </a:r>
            <a:r>
              <a:rPr lang="en-US" sz="2400" dirty="0" err="1"/>
              <a:t>Int</a:t>
            </a:r>
            <a:r>
              <a:rPr lang="en-US" sz="2400" dirty="0"/>
              <a:t>)(y: </a:t>
            </a:r>
            <a:r>
              <a:rPr lang="en-US" sz="2400" dirty="0" err="1"/>
              <a:t>Int</a:t>
            </a:r>
            <a:r>
              <a:rPr lang="en-US" sz="2400" dirty="0"/>
              <a:t>) has the function type </a:t>
            </a:r>
            <a:r>
              <a:rPr lang="en-US" sz="2400" dirty="0" err="1"/>
              <a:t>Int</a:t>
            </a:r>
            <a:r>
              <a:rPr lang="en-US" sz="2400" dirty="0"/>
              <a:t> =&gt; </a:t>
            </a:r>
            <a:r>
              <a:rPr lang="en-US" sz="2400" dirty="0" err="1"/>
              <a:t>Int</a:t>
            </a:r>
            <a:r>
              <a:rPr lang="en-US" sz="2400" dirty="0"/>
              <a:t> =&gt; </a:t>
            </a:r>
            <a:r>
              <a:rPr lang="en-US" sz="2400" dirty="0" smtClean="0"/>
              <a:t>Boolean</a:t>
            </a:r>
            <a:endParaRPr lang="en-US" sz="2400" noProof="0" dirty="0" smtClean="0"/>
          </a:p>
          <a:p>
            <a:r>
              <a:rPr lang="en-US" sz="2400" noProof="0" dirty="0" smtClean="0"/>
              <a:t>Reuse a function invocation and retain the value of some of the parameters to avoid typing them again</a:t>
            </a:r>
          </a:p>
          <a:p>
            <a:pPr marL="358775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ctorOf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y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y % x == 0</a:t>
            </a:r>
          </a:p>
          <a:p>
            <a:pPr marL="358775" lvl="1" indent="0">
              <a:buNone/>
            </a:pP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ctorOf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x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y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Boolean</a:t>
            </a:r>
          </a:p>
          <a:p>
            <a:pPr marL="358775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 =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ctorOf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_</a:t>
            </a:r>
          </a:p>
          <a:p>
            <a:pPr marL="358775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: (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Boolean = &lt;function2&gt;</a:t>
            </a:r>
          </a:p>
          <a:p>
            <a:pPr marL="358775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f(7, 20)</a:t>
            </a:r>
          </a:p>
          <a:p>
            <a:pPr marL="358775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Boolean = fals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10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noProof="0" dirty="0" smtClean="0"/>
              <a:t>Partially Applied Functions and Currying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56970"/>
            <a:ext cx="8559099" cy="3816630"/>
          </a:xfrm>
        </p:spPr>
        <p:txBody>
          <a:bodyPr>
            <a:normAutofit fontScale="92500" lnSpcReduction="10000"/>
          </a:bodyPr>
          <a:lstStyle/>
          <a:p>
            <a:pPr marL="180975" lvl="1"/>
            <a:r>
              <a:rPr lang="en-US" sz="2400" dirty="0">
                <a:cs typeface="Courier New" panose="02070309020205020404" pitchFamily="49" charset="0"/>
              </a:rPr>
              <a:t>For checking multiple of 3:</a:t>
            </a:r>
          </a:p>
          <a:p>
            <a:pPr marL="400050" lvl="1" indent="0">
              <a:buNone/>
            </a:pPr>
            <a:r>
              <a:rPr lang="en-US" sz="22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dirty="0">
                <a:latin typeface="Courier New" panose="02070309020205020404" pitchFamily="49" charset="0"/>
                <a:cs typeface="Courier New" panose="02070309020205020404" pitchFamily="49" charset="0"/>
              </a:rPr>
              <a:t> multipleOf3 = </a:t>
            </a:r>
            <a:r>
              <a:rPr lang="en-US" sz="2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ctorOf</a:t>
            </a:r>
            <a:r>
              <a:rPr lang="en-US" sz="2200" dirty="0">
                <a:latin typeface="Courier New" panose="02070309020205020404" pitchFamily="49" charset="0"/>
                <a:cs typeface="Courier New" panose="02070309020205020404" pitchFamily="49" charset="0"/>
              </a:rPr>
              <a:t>(3, _: </a:t>
            </a:r>
            <a:r>
              <a:rPr lang="en-US" sz="2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2200" dirty="0">
                <a:latin typeface="Courier New" panose="02070309020205020404" pitchFamily="49" charset="0"/>
                <a:cs typeface="Courier New" panose="02070309020205020404" pitchFamily="49" charset="0"/>
              </a:rPr>
              <a:t>multipleOf3: </a:t>
            </a:r>
            <a:r>
              <a:rPr lang="en-US" sz="2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dirty="0">
                <a:latin typeface="Courier New" panose="02070309020205020404" pitchFamily="49" charset="0"/>
                <a:cs typeface="Courier New" panose="02070309020205020404" pitchFamily="49" charset="0"/>
              </a:rPr>
              <a:t> =&gt; Boolean = &lt;function1&gt;</a:t>
            </a:r>
          </a:p>
          <a:p>
            <a:pPr marL="400050" lvl="1" indent="0">
              <a:buNone/>
            </a:pPr>
            <a:r>
              <a:rPr lang="en-US" sz="22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dirty="0">
                <a:latin typeface="Courier New" panose="02070309020205020404" pitchFamily="49" charset="0"/>
                <a:cs typeface="Courier New" panose="02070309020205020404" pitchFamily="49" charset="0"/>
              </a:rPr>
              <a:t> y = multipleOf3(78)</a:t>
            </a:r>
          </a:p>
          <a:p>
            <a:pPr marL="400050" lvl="1" indent="0">
              <a:buNone/>
            </a:pPr>
            <a:r>
              <a:rPr lang="en-US" sz="2200" dirty="0">
                <a:latin typeface="Courier New" panose="02070309020205020404" pitchFamily="49" charset="0"/>
                <a:cs typeface="Courier New" panose="02070309020205020404" pitchFamily="49" charset="0"/>
              </a:rPr>
              <a:t>y: Boolean = </a:t>
            </a:r>
            <a:r>
              <a:rPr lang="en-US" sz="2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en-US" sz="2200" noProof="0" dirty="0" smtClean="0">
              <a:cs typeface="Courier New" panose="02070309020205020404" pitchFamily="49" charset="0"/>
            </a:endParaRPr>
          </a:p>
          <a:p>
            <a:r>
              <a:rPr lang="en-US" sz="2400" noProof="0" dirty="0" smtClean="0">
                <a:cs typeface="Courier New" panose="02070309020205020404" pitchFamily="49" charset="0"/>
              </a:rPr>
              <a:t>Better way </a:t>
            </a:r>
            <a:r>
              <a:rPr lang="en-US" sz="2400" i="1" noProof="0" dirty="0" smtClean="0">
                <a:cs typeface="Courier New" panose="02070309020205020404" pitchFamily="49" charset="0"/>
              </a:rPr>
              <a:t>Currying</a:t>
            </a:r>
            <a:r>
              <a:rPr lang="en-US" sz="2400" noProof="0" dirty="0" smtClean="0">
                <a:cs typeface="Courier New" panose="02070309020205020404" pitchFamily="49" charset="0"/>
              </a:rPr>
              <a:t> the function: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ctorOf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(y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y % x == 0</a:t>
            </a:r>
          </a:p>
          <a:p>
            <a:pPr marL="400050" lvl="1" indent="0">
              <a:buNone/>
            </a:pP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ctorOf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x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(y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Boolean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Even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ctorOf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) _</a:t>
            </a:r>
          </a:p>
          <a:p>
            <a:pPr marL="400050" lvl="1" indent="0">
              <a:buNone/>
            </a:pP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Even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Boolean = &lt;function1&gt;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2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22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z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2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sEven</a:t>
            </a: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32)</a:t>
            </a:r>
          </a:p>
          <a:p>
            <a:pPr marL="400050" lvl="1" indent="0">
              <a:buNone/>
            </a:pPr>
            <a:r>
              <a:rPr lang="en-US" sz="2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z: Boolean = true</a:t>
            </a:r>
            <a:endParaRPr lang="en-US" sz="22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27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1231106"/>
          </a:xfrm>
        </p:spPr>
        <p:txBody>
          <a:bodyPr/>
          <a:lstStyle/>
          <a:p>
            <a:r>
              <a:rPr lang="en-US" noProof="0" dirty="0" smtClean="0"/>
              <a:t>1. Introduction and Installation</a:t>
            </a:r>
            <a:endParaRPr lang="en-US" noProof="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8712" y="4277454"/>
            <a:ext cx="2855009" cy="807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88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By-Name Parameter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noProof="0" dirty="0" smtClean="0"/>
              <a:t>Each time a </a:t>
            </a:r>
            <a:r>
              <a:rPr lang="en-US" sz="2400" b="1" noProof="0" dirty="0" smtClean="0"/>
              <a:t>by-name parameter </a:t>
            </a:r>
            <a:r>
              <a:rPr lang="en-US" sz="2400" noProof="0" dirty="0" smtClean="0"/>
              <a:t>is used inside a function, it gets </a:t>
            </a:r>
            <a:r>
              <a:rPr lang="en-US" sz="2400" b="1" noProof="0" dirty="0" smtClean="0"/>
              <a:t>evaluated into a value</a:t>
            </a:r>
            <a:r>
              <a:rPr lang="en-US" sz="2400" noProof="0" dirty="0" smtClean="0"/>
              <a:t>.</a:t>
            </a:r>
          </a:p>
          <a:p>
            <a:r>
              <a:rPr lang="en-US" sz="2400" noProof="0" dirty="0" smtClean="0"/>
              <a:t>If a </a:t>
            </a:r>
            <a:r>
              <a:rPr lang="en-US" sz="2400" b="1" noProof="0" dirty="0" smtClean="0"/>
              <a:t>value</a:t>
            </a:r>
            <a:r>
              <a:rPr lang="en-US" sz="2400" noProof="0" dirty="0" smtClean="0"/>
              <a:t> is passed to the function then there is no effect, but </a:t>
            </a:r>
            <a:r>
              <a:rPr lang="en-US" sz="2400" b="1" noProof="0" dirty="0" smtClean="0"/>
              <a:t>if a function is passed </a:t>
            </a:r>
            <a:r>
              <a:rPr lang="en-US" sz="2400" noProof="0" dirty="0" smtClean="0"/>
              <a:t>then that function </a:t>
            </a:r>
            <a:r>
              <a:rPr lang="en-US" sz="2400" b="1" noProof="0" dirty="0" smtClean="0"/>
              <a:t>is invoked for every usage</a:t>
            </a:r>
            <a:r>
              <a:rPr lang="en-US" sz="2400" noProof="0" dirty="0" smtClean="0"/>
              <a:t>.</a:t>
            </a:r>
          </a:p>
          <a:p>
            <a:r>
              <a:rPr lang="en-US" sz="2400" noProof="0" dirty="0" smtClean="0"/>
              <a:t>A function passed in a </a:t>
            </a:r>
            <a:r>
              <a:rPr lang="en-US" sz="2400" b="1" noProof="0" dirty="0" smtClean="0"/>
              <a:t>by-name parameter </a:t>
            </a:r>
            <a:r>
              <a:rPr lang="en-US" sz="2400" noProof="0" dirty="0" smtClean="0"/>
              <a:t>will not be invoked if the parameter is not accessed, </a:t>
            </a:r>
            <a:r>
              <a:rPr lang="en-US" sz="2400" b="1" noProof="0" dirty="0" smtClean="0"/>
              <a:t>so a costly function call can be avoided if necessary</a:t>
            </a:r>
            <a:r>
              <a:rPr lang="en-US" sz="2400" noProof="0" dirty="0" smtClean="0"/>
              <a:t>.</a:t>
            </a:r>
            <a:endParaRPr lang="en-U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117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By-Name Parameters (Example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3" y="794885"/>
            <a:ext cx="5344346" cy="401916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doubles(x: </a:t>
            </a:r>
            <a:r>
              <a:rPr lang="en-US" sz="12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{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Now doubling " + x)	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x * 2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oubles: (x: =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doubles(5)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ow doubling 5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8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0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(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{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Hello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rom f($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")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: (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doubles( f(8) )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ello from f(8)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ow doubling 8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ello from f(8)</a:t>
            </a:r>
          </a:p>
          <a:p>
            <a:pPr marL="0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9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6</a:t>
            </a:r>
            <a:endParaRPr lang="en-US" sz="12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4882153" y="929357"/>
            <a:ext cx="2885374" cy="805314"/>
          </a:xfrm>
          <a:prstGeom prst="wedgeRoundRectCallout">
            <a:avLst>
              <a:gd name="adj1" fmla="val -100991"/>
              <a:gd name="adj2" fmla="val -20522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The x by-name parameter is accessed here just like a normal by-value parameter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4350922" y="1838060"/>
            <a:ext cx="2885374" cy="805314"/>
          </a:xfrm>
          <a:prstGeom prst="wedgeRoundRectCallout">
            <a:avLst>
              <a:gd name="adj1" fmla="val -121497"/>
              <a:gd name="adj2" fmla="val -1319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600" dirty="0">
                <a:solidFill>
                  <a:schemeClr val="tx1"/>
                </a:solidFill>
              </a:rPr>
              <a:t>Invoke the doubles method with a regular value and it will operate </a:t>
            </a:r>
            <a:r>
              <a:rPr lang="en-GB" sz="1600" dirty="0" smtClean="0">
                <a:solidFill>
                  <a:schemeClr val="tx1"/>
                </a:solidFill>
              </a:rPr>
              <a:t>normally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4389262" y="3099842"/>
            <a:ext cx="3941431" cy="900658"/>
          </a:xfrm>
          <a:prstGeom prst="wedgeRoundRectCallout">
            <a:avLst>
              <a:gd name="adj1" fmla="val -93691"/>
              <a:gd name="adj2" fmla="val -11770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600" dirty="0">
                <a:solidFill>
                  <a:schemeClr val="tx1"/>
                </a:solidFill>
              </a:rPr>
              <a:t>…but when you invoke it with a function value, that function value will get</a:t>
            </a:r>
          </a:p>
          <a:p>
            <a:r>
              <a:rPr lang="en-GB" sz="1600" dirty="0">
                <a:solidFill>
                  <a:schemeClr val="tx1"/>
                </a:solidFill>
              </a:rPr>
              <a:t>invoked inside the doubles method</a:t>
            </a:r>
          </a:p>
        </p:txBody>
      </p:sp>
      <p:sp>
        <p:nvSpPr>
          <p:cNvPr id="13" name="Rounded Rectangular Callout 12"/>
          <p:cNvSpPr/>
          <p:nvPr/>
        </p:nvSpPr>
        <p:spPr>
          <a:xfrm>
            <a:off x="3556747" y="4079236"/>
            <a:ext cx="5170393" cy="674299"/>
          </a:xfrm>
          <a:prstGeom prst="wedgeRoundRectCallout">
            <a:avLst>
              <a:gd name="adj1" fmla="val -81207"/>
              <a:gd name="adj2" fmla="val -55643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600" dirty="0">
                <a:solidFill>
                  <a:schemeClr val="tx1"/>
                </a:solidFill>
              </a:rPr>
              <a:t>Because the double method refers to the x </a:t>
            </a:r>
            <a:r>
              <a:rPr lang="en-GB" sz="1600" dirty="0" smtClean="0">
                <a:solidFill>
                  <a:schemeClr val="tx1"/>
                </a:solidFill>
              </a:rPr>
              <a:t>parameter </a:t>
            </a:r>
            <a:r>
              <a:rPr lang="en-GB" sz="1600" dirty="0">
                <a:solidFill>
                  <a:schemeClr val="tx1"/>
                </a:solidFill>
              </a:rPr>
              <a:t>twice, the “Hello” </a:t>
            </a:r>
            <a:r>
              <a:rPr lang="en-GB" sz="1600" dirty="0" smtClean="0">
                <a:solidFill>
                  <a:schemeClr val="tx1"/>
                </a:solidFill>
              </a:rPr>
              <a:t>message gets </a:t>
            </a:r>
            <a:r>
              <a:rPr lang="en-GB" sz="1600" dirty="0">
                <a:solidFill>
                  <a:schemeClr val="tx1"/>
                </a:solidFill>
              </a:rPr>
              <a:t>invoked twice</a:t>
            </a:r>
          </a:p>
        </p:txBody>
      </p:sp>
    </p:spTree>
    <p:extLst>
      <p:ext uri="{BB962C8B-B14F-4D97-AF65-F5344CB8AC3E}">
        <p14:creationId xmlns:p14="http://schemas.microsoft.com/office/powerpoint/2010/main" val="173550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artial Fun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0612"/>
            <a:ext cx="8243888" cy="3906369"/>
          </a:xfrm>
        </p:spPr>
        <p:txBody>
          <a:bodyPr>
            <a:normAutofit/>
          </a:bodyPr>
          <a:lstStyle/>
          <a:p>
            <a:r>
              <a:rPr lang="en-US" b="1" dirty="0"/>
              <a:t>F</a:t>
            </a:r>
            <a:r>
              <a:rPr lang="en-US" b="1" noProof="0" dirty="0" smtClean="0"/>
              <a:t>unction literals </a:t>
            </a:r>
            <a:r>
              <a:rPr lang="en-US" noProof="0" dirty="0" smtClean="0"/>
              <a:t>that apply a </a:t>
            </a:r>
            <a:r>
              <a:rPr lang="en-US" b="1" noProof="0" dirty="0" smtClean="0"/>
              <a:t>series of case patterns </a:t>
            </a:r>
            <a:r>
              <a:rPr lang="en-US" noProof="0" dirty="0" smtClean="0"/>
              <a:t>to their input, requiring that the input </a:t>
            </a:r>
            <a:r>
              <a:rPr lang="en-US" b="1" noProof="0" dirty="0" smtClean="0"/>
              <a:t>match at least one of the given patterns</a:t>
            </a:r>
            <a:r>
              <a:rPr lang="en-US" noProof="0" dirty="0" smtClean="0"/>
              <a:t>.</a:t>
            </a:r>
          </a:p>
          <a:p>
            <a:r>
              <a:rPr lang="en-US" noProof="0" dirty="0" smtClean="0"/>
              <a:t>Invoking one of these partial functions with data that </a:t>
            </a:r>
            <a:r>
              <a:rPr lang="en-US" b="1" noProof="0" dirty="0" smtClean="0"/>
              <a:t>does not meet at least one case pattern </a:t>
            </a:r>
            <a:r>
              <a:rPr lang="en-US" noProof="0" dirty="0" smtClean="0"/>
              <a:t>results in a </a:t>
            </a:r>
            <a:r>
              <a:rPr lang="en-US" b="1" noProof="0" dirty="0" smtClean="0"/>
              <a:t>Scala error</a:t>
            </a:r>
            <a:endParaRPr lang="en-US" noProof="0" dirty="0" smtClean="0"/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tusHandler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String = {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200 =&gt; "Okay"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400 =&gt; "Your Error"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500 =&gt; "Our error"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tusHandler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String = &lt;function1&gt;</a:t>
            </a:r>
          </a:p>
          <a:p>
            <a:pPr marL="400050" lvl="1" indent="0">
              <a:buNone/>
            </a:pPr>
            <a:fld id="{EA64B863-C499-45DC-A379-73F048EFA222}" type="slidenum">
              <a:rPr lang="en-US" noProof="0" smtClean="0">
                <a:latin typeface="Courier New" panose="02070309020205020404" pitchFamily="49" charset="0"/>
                <a:cs typeface="Courier New" panose="02070309020205020404" pitchFamily="49" charset="0"/>
              </a:rPr>
              <a:t>52</a:t>
            </a:fld>
            <a:fld id="{1A3AD0F4-B952-4B9F-96C9-89897BD39BC5}" type="slidenum">
              <a:rPr lang="en-US" noProof="0" smtClean="0">
                <a:latin typeface="Courier New" panose="02070309020205020404" pitchFamily="49" charset="0"/>
                <a:cs typeface="Courier New" panose="02070309020205020404" pitchFamily="49" charset="0"/>
              </a:rPr>
              <a:t>52</a:t>
            </a:fld>
            <a:fld id="{6326D513-4FBD-4C8F-9747-E2B8B6173CE1}" type="slidenum">
              <a:rPr lang="en-US" noProof="0" smtClean="0">
                <a:latin typeface="Courier New" panose="02070309020205020404" pitchFamily="49" charset="0"/>
                <a:cs typeface="Courier New" panose="02070309020205020404" pitchFamily="49" charset="0"/>
              </a:rPr>
              <a:t>52</a:t>
            </a:fld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tusHandler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00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20: String = Okay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tusHandler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401)</a:t>
            </a:r>
          </a:p>
          <a:p>
            <a:pPr marL="400050" lvl="1" indent="0">
              <a:buNone/>
            </a:pP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MatchError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401 (of class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lang.Integer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t $anonfun$1.apply(&lt;console&gt;:7)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t $anonfun$1.apply(&lt;console&gt;:7)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 32 elided</a:t>
            </a:r>
          </a:p>
          <a:p>
            <a:endParaRPr lang="en-US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17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322657"/>
            <a:ext cx="6692104" cy="490889"/>
          </a:xfrm>
        </p:spPr>
        <p:txBody>
          <a:bodyPr>
            <a:noAutofit/>
          </a:bodyPr>
          <a:lstStyle/>
          <a:p>
            <a:r>
              <a:rPr lang="en-US" sz="1600" noProof="0" dirty="0" smtClean="0"/>
              <a:t>Invoking Higher-Order Functions with Function Literal Blocks (1 / 2)</a:t>
            </a:r>
            <a:endParaRPr lang="en-US" sz="1600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3707" y="910758"/>
            <a:ext cx="8243888" cy="3775542"/>
          </a:xfrm>
        </p:spPr>
        <p:txBody>
          <a:bodyPr>
            <a:noAutofit/>
          </a:bodyPr>
          <a:lstStyle/>
          <a:p>
            <a:r>
              <a:rPr lang="en-US" sz="1600" noProof="0" dirty="0" smtClean="0"/>
              <a:t>To invoke utility functions with an expression block. For example, a higher-order function can wrap a given expression block in a single database session or transaction.</a:t>
            </a:r>
          </a:p>
          <a:p>
            <a:r>
              <a:rPr lang="en-US" sz="1600" b="1" noProof="0" dirty="0" smtClean="0"/>
              <a:t>Example1:</a:t>
            </a:r>
          </a:p>
          <a:p>
            <a:pPr marL="180975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: String)(f: String =&gt; String) = {</a:t>
            </a:r>
          </a:p>
          <a:p>
            <a:pPr marL="180975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if (s != null) f(s) else s</a:t>
            </a:r>
          </a:p>
          <a:p>
            <a:pPr marL="180975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indent="0">
              <a:buNone/>
            </a:pP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s: String)(f: String =&gt; String)String</a:t>
            </a:r>
          </a:p>
          <a:p>
            <a:pPr marL="180975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imedUUI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feStringOp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ui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 s =&gt;</a:t>
            </a:r>
          </a:p>
          <a:p>
            <a:pPr marL="180975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ow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ystem.currentTimeMillis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imed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.tak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4) + now</a:t>
            </a:r>
          </a:p>
          <a:p>
            <a:pPr marL="180975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imed.toUpperCase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80975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indent="0">
              <a:buNone/>
            </a:pP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imedUUI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 = BFE1DDDA-92F6-4C7A-8BFC-139454691501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49264" y="137991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36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322658"/>
            <a:ext cx="6692104" cy="443824"/>
          </a:xfrm>
        </p:spPr>
        <p:txBody>
          <a:bodyPr>
            <a:noAutofit/>
          </a:bodyPr>
          <a:lstStyle/>
          <a:p>
            <a:r>
              <a:rPr lang="en-US" sz="1600" noProof="0" dirty="0" smtClean="0"/>
              <a:t>Invoking Higher-Order Functions with Function Literal Blocks (2 / 2)</a:t>
            </a:r>
            <a:endParaRPr lang="en-US" sz="1600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3708" y="883864"/>
            <a:ext cx="5143546" cy="3786240"/>
          </a:xfrm>
        </p:spPr>
        <p:txBody>
          <a:bodyPr>
            <a:noAutofit/>
          </a:bodyPr>
          <a:lstStyle/>
          <a:p>
            <a:r>
              <a:rPr lang="en-US" sz="1600" b="1" noProof="0" dirty="0" smtClean="0"/>
              <a:t>Example 2: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imer[A](f: =&gt; A): A = {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ow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ystem.currentTimeMillis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tart = now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 = f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end = now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Execute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 ${end - start}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a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imer: [A](f: =&gt; A)A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RandomAmount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timer {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setSeed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ystem.currentTimeMillis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for (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&lt;- 1 to 100000)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nextDouble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nextDouble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  <a:endParaRPr lang="en-US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49264" y="81001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 flipH="1" flipV="1">
            <a:off x="1847231" y="4595084"/>
            <a:ext cx="115979" cy="750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ular Callout 11"/>
          <p:cNvSpPr/>
          <p:nvPr/>
        </p:nvSpPr>
        <p:spPr>
          <a:xfrm>
            <a:off x="5056965" y="883864"/>
            <a:ext cx="3905499" cy="853888"/>
          </a:xfrm>
          <a:prstGeom prst="wedgeRoundRectCallout">
            <a:avLst>
              <a:gd name="adj1" fmla="val -69487"/>
              <a:gd name="adj2" fmla="val 738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The type parameter “A” helps the return type of the </a:t>
            </a:r>
            <a:r>
              <a:rPr lang="en-GB" sz="1200" b="1" dirty="0">
                <a:solidFill>
                  <a:schemeClr val="tx1"/>
                </a:solidFill>
              </a:rPr>
              <a:t>“f” by-name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smtClean="0">
                <a:solidFill>
                  <a:schemeClr val="tx1"/>
                </a:solidFill>
              </a:rPr>
              <a:t>parameter become </a:t>
            </a:r>
            <a:r>
              <a:rPr lang="en-GB" sz="1200" dirty="0">
                <a:solidFill>
                  <a:schemeClr val="tx1"/>
                </a:solidFill>
              </a:rPr>
              <a:t>the return type of the “</a:t>
            </a:r>
            <a:r>
              <a:rPr lang="en-GB" sz="1200" dirty="0" smtClean="0">
                <a:solidFill>
                  <a:schemeClr val="tx1"/>
                </a:solidFill>
              </a:rPr>
              <a:t>timer” function</a:t>
            </a:r>
            <a:r>
              <a:rPr lang="en-GB" sz="1200" dirty="0">
                <a:solidFill>
                  <a:schemeClr val="tx1"/>
                </a:solidFill>
              </a:rPr>
              <a:t>, reducing the impact of </a:t>
            </a:r>
            <a:r>
              <a:rPr lang="en-GB" sz="1200" dirty="0" smtClean="0">
                <a:solidFill>
                  <a:schemeClr val="tx1"/>
                </a:solidFill>
              </a:rPr>
              <a:t>wrapping code </a:t>
            </a:r>
            <a:r>
              <a:rPr lang="en-GB" sz="1200" dirty="0">
                <a:solidFill>
                  <a:schemeClr val="tx1"/>
                </a:solidFill>
              </a:rPr>
              <a:t>with the “timer” function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ounded Rectangular Callout 12"/>
          <p:cNvSpPr/>
          <p:nvPr/>
        </p:nvSpPr>
        <p:spPr>
          <a:xfrm>
            <a:off x="5346063" y="1822076"/>
            <a:ext cx="3327302" cy="712695"/>
          </a:xfrm>
          <a:prstGeom prst="wedgeRoundRectCallout">
            <a:avLst>
              <a:gd name="adj1" fmla="val -90098"/>
              <a:gd name="adj2" fmla="val 136638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This inner, nested function is here for purely aesthetic reasons, enabling us </a:t>
            </a:r>
            <a:r>
              <a:rPr lang="en-GB" sz="1200" dirty="0" smtClean="0">
                <a:solidFill>
                  <a:schemeClr val="tx1"/>
                </a:solidFill>
              </a:rPr>
              <a:t>to retrieve </a:t>
            </a:r>
            <a:r>
              <a:rPr lang="en-GB" sz="1200" dirty="0">
                <a:solidFill>
                  <a:schemeClr val="tx1"/>
                </a:solidFill>
              </a:rPr>
              <a:t>the current millisecond amount compactly.</a:t>
            </a:r>
          </a:p>
        </p:txBody>
      </p:sp>
      <p:sp>
        <p:nvSpPr>
          <p:cNvPr id="14" name="Rounded Rectangular Callout 13"/>
          <p:cNvSpPr/>
          <p:nvPr/>
        </p:nvSpPr>
        <p:spPr>
          <a:xfrm>
            <a:off x="5587254" y="3220570"/>
            <a:ext cx="3516406" cy="1374513"/>
          </a:xfrm>
          <a:prstGeom prst="wedgeRoundRectCallout">
            <a:avLst>
              <a:gd name="adj1" fmla="val -70018"/>
              <a:gd name="adj2" fmla="val 11280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Finally, we have reduced the expression block syntax for higher-order </a:t>
            </a:r>
            <a:r>
              <a:rPr lang="en-GB" sz="1200" dirty="0" smtClean="0">
                <a:solidFill>
                  <a:schemeClr val="tx1"/>
                </a:solidFill>
              </a:rPr>
              <a:t>functions to </a:t>
            </a:r>
            <a:r>
              <a:rPr lang="en-GB" sz="1200" dirty="0">
                <a:solidFill>
                  <a:schemeClr val="tx1"/>
                </a:solidFill>
              </a:rPr>
              <a:t>its simplest form: the function name and the block. You can view the </a:t>
            </a:r>
            <a:r>
              <a:rPr lang="en-GB" sz="1200" dirty="0" smtClean="0">
                <a:solidFill>
                  <a:schemeClr val="tx1"/>
                </a:solidFill>
              </a:rPr>
              <a:t>code between </a:t>
            </a:r>
            <a:r>
              <a:rPr lang="en-GB" sz="1200" dirty="0">
                <a:solidFill>
                  <a:schemeClr val="tx1"/>
                </a:solidFill>
              </a:rPr>
              <a:t>the braces as being an expression block, or as a function literal </a:t>
            </a:r>
            <a:r>
              <a:rPr lang="en-GB" sz="1200" dirty="0" smtClean="0">
                <a:solidFill>
                  <a:schemeClr val="tx1"/>
                </a:solidFill>
              </a:rPr>
              <a:t>block, or </a:t>
            </a:r>
            <a:r>
              <a:rPr lang="en-GB" sz="1200" dirty="0">
                <a:solidFill>
                  <a:schemeClr val="tx1"/>
                </a:solidFill>
              </a:rPr>
              <a:t>as regular code being </a:t>
            </a:r>
            <a:r>
              <a:rPr lang="en-GB" sz="1200" i="1" dirty="0">
                <a:solidFill>
                  <a:schemeClr val="tx1"/>
                </a:solidFill>
              </a:rPr>
              <a:t>wrapped </a:t>
            </a:r>
            <a:r>
              <a:rPr lang="en-GB" sz="1200" dirty="0">
                <a:solidFill>
                  <a:schemeClr val="tx1"/>
                </a:solidFill>
              </a:rPr>
              <a:t>by the “timer” function</a:t>
            </a:r>
          </a:p>
        </p:txBody>
      </p:sp>
    </p:spTree>
    <p:extLst>
      <p:ext uri="{BB962C8B-B14F-4D97-AF65-F5344CB8AC3E}">
        <p14:creationId xmlns:p14="http://schemas.microsoft.com/office/powerpoint/2010/main" val="380215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Exerci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600" b="1" noProof="0" dirty="0" smtClean="0"/>
              <a:t>Exercise 5 – First-Class Functions</a:t>
            </a:r>
          </a:p>
          <a:p>
            <a:endParaRPr lang="en-US" sz="36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troduction to scala</a:t>
            </a:r>
          </a:p>
        </p:txBody>
      </p:sp>
    </p:spTree>
    <p:extLst>
      <p:ext uri="{BB962C8B-B14F-4D97-AF65-F5344CB8AC3E}">
        <p14:creationId xmlns:p14="http://schemas.microsoft.com/office/powerpoint/2010/main" val="113029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615553"/>
          </a:xfrm>
        </p:spPr>
        <p:txBody>
          <a:bodyPr/>
          <a:lstStyle/>
          <a:p>
            <a:r>
              <a:rPr lang="en-US" dirty="0" smtClean="0"/>
              <a:t>7. Common Collections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649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mmon Colle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4034"/>
            <a:ext cx="8243888" cy="3654519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A </a:t>
            </a:r>
            <a:r>
              <a:rPr lang="en-US" sz="2000" b="1" i="1" noProof="0" dirty="0" smtClean="0"/>
              <a:t>collections </a:t>
            </a:r>
            <a:r>
              <a:rPr lang="en-US" sz="2000" b="1" noProof="0" dirty="0" smtClean="0"/>
              <a:t>framework </a:t>
            </a:r>
            <a:r>
              <a:rPr lang="en-US" sz="2000" noProof="0" dirty="0" smtClean="0"/>
              <a:t>provides data structures for collecting one or more values of a given type such as arrays, lists, maps, sets, and trees. </a:t>
            </a:r>
          </a:p>
          <a:p>
            <a:r>
              <a:rPr lang="en-US" sz="2000" b="1" noProof="0" dirty="0" smtClean="0"/>
              <a:t>Scala</a:t>
            </a:r>
            <a:r>
              <a:rPr lang="en-US" sz="2000" noProof="0" dirty="0" smtClean="0"/>
              <a:t> has a high-performance, </a:t>
            </a:r>
            <a:r>
              <a:rPr lang="en-US" sz="2000" b="1" noProof="0" dirty="0" smtClean="0"/>
              <a:t>object-oriented</a:t>
            </a:r>
            <a:r>
              <a:rPr lang="en-US" sz="2000" noProof="0" dirty="0" smtClean="0"/>
              <a:t>, and </a:t>
            </a:r>
            <a:r>
              <a:rPr lang="en-US" sz="2000" b="1" noProof="0" dirty="0" smtClean="0"/>
              <a:t>type-parameterized</a:t>
            </a:r>
            <a:r>
              <a:rPr lang="en-US" sz="2000" noProof="0" dirty="0" smtClean="0"/>
              <a:t> </a:t>
            </a:r>
            <a:r>
              <a:rPr lang="en-US" sz="2000" b="1" noProof="0" dirty="0" smtClean="0"/>
              <a:t>Collections</a:t>
            </a:r>
          </a:p>
          <a:p>
            <a:r>
              <a:rPr lang="en-US" sz="2000" noProof="0" dirty="0" smtClean="0"/>
              <a:t>Collections have </a:t>
            </a:r>
            <a:r>
              <a:rPr lang="en-US" sz="2000" b="1" noProof="0" dirty="0" smtClean="0"/>
              <a:t>higher-order operations </a:t>
            </a:r>
            <a:r>
              <a:rPr lang="en-US" sz="2000" noProof="0" dirty="0" smtClean="0"/>
              <a:t>like </a:t>
            </a:r>
            <a:r>
              <a:rPr lang="en-US" sz="2000" b="1" noProof="0" dirty="0" smtClean="0"/>
              <a:t>map</a:t>
            </a:r>
            <a:r>
              <a:rPr lang="en-US" sz="2000" noProof="0" dirty="0" smtClean="0"/>
              <a:t>, filter, and reduce that make it possible to manage and manipulate data with short and expressive expressions</a:t>
            </a:r>
          </a:p>
          <a:p>
            <a:r>
              <a:rPr lang="en-US" sz="2000" noProof="0" dirty="0" smtClean="0"/>
              <a:t>Scala has </a:t>
            </a:r>
            <a:r>
              <a:rPr lang="en-US" sz="2000" b="1" noProof="0" dirty="0" smtClean="0"/>
              <a:t>separate mutable versus immutable collection </a:t>
            </a:r>
            <a:r>
              <a:rPr lang="en-US" sz="2000" noProof="0" dirty="0" smtClean="0"/>
              <a:t>type hierarchies (always favor immutable version in your code)</a:t>
            </a:r>
          </a:p>
          <a:p>
            <a:r>
              <a:rPr lang="en-US" sz="2000" b="1" noProof="0" dirty="0" smtClean="0"/>
              <a:t>Root of all </a:t>
            </a:r>
            <a:r>
              <a:rPr lang="en-US" sz="2000" b="1" noProof="0" dirty="0" err="1" smtClean="0"/>
              <a:t>iterable</a:t>
            </a:r>
            <a:r>
              <a:rPr lang="en-US" sz="2000" b="1" noProof="0" dirty="0" smtClean="0"/>
              <a:t> collections</a:t>
            </a:r>
            <a:r>
              <a:rPr lang="en-US" sz="2000" noProof="0" dirty="0" smtClean="0"/>
              <a:t>: </a:t>
            </a:r>
            <a:r>
              <a:rPr lang="en-US" sz="20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terable</a:t>
            </a:r>
            <a:endParaRPr lang="en-US" sz="20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47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Lists (1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856970"/>
            <a:ext cx="5715046" cy="3910012"/>
          </a:xfrm>
        </p:spPr>
        <p:txBody>
          <a:bodyPr>
            <a:noAutofit/>
          </a:bodyPr>
          <a:lstStyle/>
          <a:p>
            <a:r>
              <a:rPr lang="en-US" noProof="0" dirty="0" smtClean="0"/>
              <a:t>List type: An immutable singly linked list.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umbers = List(32, 95, 24, 21, 17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umbers: List[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List(32, 95, 24, 21, 17)</a:t>
            </a:r>
          </a:p>
          <a:p>
            <a:pPr marL="400050" lvl="1" indent="0">
              <a:buNone/>
            </a:pP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lors = List("red", "green", "blue"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olors: List[String] = List(red, green, blue)</a:t>
            </a:r>
          </a:p>
          <a:p>
            <a:pPr marL="400050" lvl="1" indent="0">
              <a:buNone/>
            </a:pP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I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ave ${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s.siz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 colors: $colors"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 have 3 colors: List(red, green, blue)</a:t>
            </a:r>
          </a:p>
          <a:p>
            <a:pPr marL="180975" lvl="1">
              <a:tabLst>
                <a:tab pos="180975" algn="l"/>
              </a:tabLst>
            </a:pPr>
            <a:r>
              <a:rPr lang="en-US" sz="1400" noProof="0" dirty="0" smtClean="0">
                <a:cs typeface="ＭＳ Ｐゴシック" charset="0"/>
              </a:rPr>
              <a:t>Head &amp; Tail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s.head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0: String = red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s.tail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: List[String] = List(green, blue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olors(1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2: String = green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olors(2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3: String = blu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gray">
          <a:xfrm>
            <a:off x="4447524" y="3988735"/>
            <a:ext cx="4588900" cy="6975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/>
            <a:r>
              <a:rPr lang="en-US" sz="1800" dirty="0" err="1" smtClean="0">
                <a:cs typeface="ＭＳ Ｐゴシック" charset="0"/>
              </a:rPr>
              <a:t>Call.isEmpty</a:t>
            </a:r>
            <a:r>
              <a:rPr lang="en-US" sz="1800" dirty="0" smtClean="0">
                <a:cs typeface="ＭＳ Ｐゴシック" charset="0"/>
              </a:rPr>
              <a:t> to check for the end of the list. All lists end with an invisible Nil</a:t>
            </a:r>
            <a:endParaRPr lang="en-US" sz="1800" dirty="0"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11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List (2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5107" y="873498"/>
            <a:ext cx="6313440" cy="3859612"/>
          </a:xfrm>
        </p:spPr>
        <p:txBody>
          <a:bodyPr>
            <a:noAutofit/>
          </a:bodyPr>
          <a:lstStyle/>
          <a:p>
            <a:r>
              <a:rPr lang="en-US" sz="1400" noProof="0" dirty="0" smtClean="0"/>
              <a:t>For loops (DON’T use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umbers = List(32, 95, 24, 21, 17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umbers: List[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List(32, 95, 24, 21, 17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otal = 0; for (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&lt;- numbers) { total +=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otal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89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lors = List("red", "green", "blue"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olors: List[String] = List(red, green, blue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for (c &lt;- colors) { print(c + “ “) }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d green blue</a:t>
            </a:r>
          </a:p>
          <a:p>
            <a:pPr marL="180975" lvl="1"/>
            <a:r>
              <a:rPr lang="en-US" sz="1400" noProof="0" dirty="0" smtClean="0">
                <a:cs typeface="ＭＳ Ｐゴシック" charset="0"/>
              </a:rPr>
              <a:t>Higher-order functions 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lors = List("red", "green", "blue"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olors: List[String] = List(red, green, blue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s.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each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 (c: String) =&gt; print(c + “ “) 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d green blue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izes =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s.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ap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 (c: String) =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.size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izes: List[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List(3, 5, 4)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otal =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mbers.</a:t>
            </a:r>
            <a:r>
              <a:rPr lang="en-US" sz="12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uce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 (a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b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a + b )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otal: </a:t>
            </a:r>
            <a:r>
              <a:rPr lang="en-US" sz="12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89</a:t>
            </a:r>
          </a:p>
          <a:p>
            <a:pPr marL="400050" lvl="1" indent="0">
              <a:buNone/>
            </a:pPr>
            <a:r>
              <a:rPr lang="en-US" sz="12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endParaRPr lang="en-US" sz="12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5437107" y="2265829"/>
            <a:ext cx="3382351" cy="497542"/>
          </a:xfrm>
          <a:prstGeom prst="wedgeRoundRectCallout">
            <a:avLst>
              <a:gd name="adj1" fmla="val -59747"/>
              <a:gd name="adj2" fmla="val 161549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takes a function (a procedure, to be accurate) and invokes it </a:t>
            </a:r>
            <a:r>
              <a:rPr lang="en-GB" sz="1200" dirty="0" smtClean="0">
                <a:solidFill>
                  <a:schemeClr val="tx1"/>
                </a:solidFill>
              </a:rPr>
              <a:t>with every </a:t>
            </a:r>
            <a:r>
              <a:rPr lang="en-GB" sz="1200" dirty="0">
                <a:solidFill>
                  <a:schemeClr val="tx1"/>
                </a:solidFill>
              </a:rPr>
              <a:t>item in the list.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5706048" y="3204882"/>
            <a:ext cx="3316929" cy="497542"/>
          </a:xfrm>
          <a:prstGeom prst="wedgeRoundRectCallout">
            <a:avLst>
              <a:gd name="adj1" fmla="val -62585"/>
              <a:gd name="adj2" fmla="val 87225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map() takes a function that converts a single list element to another value </a:t>
            </a:r>
            <a:r>
              <a:rPr lang="en-GB" sz="1200" dirty="0" smtClean="0">
                <a:solidFill>
                  <a:schemeClr val="tx1"/>
                </a:solidFill>
              </a:rPr>
              <a:t>and/or type</a:t>
            </a:r>
            <a:r>
              <a:rPr lang="en-GB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6528547" y="3901888"/>
            <a:ext cx="2494430" cy="616324"/>
          </a:xfrm>
          <a:prstGeom prst="wedgeRoundRectCallout">
            <a:avLst>
              <a:gd name="adj1" fmla="val -57194"/>
              <a:gd name="adj2" fmla="val 26134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reduce() takes a function that combines two list elements into a single element</a:t>
            </a:r>
          </a:p>
        </p:txBody>
      </p:sp>
    </p:spTree>
    <p:extLst>
      <p:ext uri="{BB962C8B-B14F-4D97-AF65-F5344CB8AC3E}">
        <p14:creationId xmlns:p14="http://schemas.microsoft.com/office/powerpoint/2010/main" val="2734350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noProof="0" dirty="0" smtClean="0"/>
              <a:t>Sca</a:t>
            </a:r>
            <a:r>
              <a:rPr lang="en-US" noProof="0" dirty="0" smtClean="0"/>
              <a:t>lable </a:t>
            </a:r>
            <a:r>
              <a:rPr lang="en-US" b="1" noProof="0" dirty="0" smtClean="0"/>
              <a:t>la</a:t>
            </a:r>
            <a:r>
              <a:rPr lang="en-US" noProof="0" dirty="0" smtClean="0"/>
              <a:t>nguag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890588"/>
            <a:ext cx="8243888" cy="1039065"/>
          </a:xfrm>
        </p:spPr>
        <p:txBody>
          <a:bodyPr>
            <a:noAutofit/>
          </a:bodyPr>
          <a:lstStyle/>
          <a:p>
            <a:r>
              <a:rPr lang="en-US" sz="2000" b="1" noProof="0" dirty="0" smtClean="0"/>
              <a:t>Scala </a:t>
            </a:r>
            <a:r>
              <a:rPr lang="en-US" sz="2000" noProof="0" dirty="0" smtClean="0"/>
              <a:t>is a </a:t>
            </a:r>
            <a:r>
              <a:rPr lang="en-US" sz="2000" b="1" noProof="0" dirty="0" smtClean="0"/>
              <a:t>modern multi</a:t>
            </a:r>
            <a:r>
              <a:rPr lang="en-US" sz="2000" noProof="0" dirty="0" smtClean="0"/>
              <a:t>-</a:t>
            </a:r>
            <a:r>
              <a:rPr lang="en-US" sz="2000" b="1" noProof="0" dirty="0" smtClean="0"/>
              <a:t>paradigm</a:t>
            </a:r>
            <a:r>
              <a:rPr lang="en-US" sz="2000" noProof="0" dirty="0" smtClean="0"/>
              <a:t> programming language designed to express </a:t>
            </a:r>
            <a:r>
              <a:rPr lang="en-US" sz="2000" b="1" noProof="0" dirty="0" smtClean="0"/>
              <a:t>common</a:t>
            </a:r>
            <a:r>
              <a:rPr lang="en-US" sz="2000" noProof="0" dirty="0" smtClean="0"/>
              <a:t> programming </a:t>
            </a:r>
            <a:r>
              <a:rPr lang="en-US" sz="2000" b="1" noProof="0" dirty="0" smtClean="0"/>
              <a:t>patterns</a:t>
            </a:r>
            <a:r>
              <a:rPr lang="en-US" sz="2000" noProof="0" dirty="0" smtClean="0"/>
              <a:t> in a </a:t>
            </a:r>
            <a:r>
              <a:rPr lang="en-US" sz="2000" b="1" noProof="0" dirty="0" smtClean="0"/>
              <a:t>concise</a:t>
            </a:r>
            <a:r>
              <a:rPr lang="en-US" sz="2000" noProof="0" dirty="0" smtClean="0"/>
              <a:t>, </a:t>
            </a:r>
            <a:r>
              <a:rPr lang="en-US" sz="2000" b="1" noProof="0" dirty="0" smtClean="0"/>
              <a:t>elegant</a:t>
            </a:r>
            <a:r>
              <a:rPr lang="en-US" sz="2000" noProof="0" dirty="0" smtClean="0"/>
              <a:t>, and </a:t>
            </a:r>
            <a:r>
              <a:rPr lang="en-US" sz="2000" b="1" noProof="0" dirty="0" smtClean="0"/>
              <a:t>type</a:t>
            </a:r>
            <a:r>
              <a:rPr lang="en-US" sz="2000" noProof="0" dirty="0" smtClean="0"/>
              <a:t>-</a:t>
            </a:r>
            <a:r>
              <a:rPr lang="en-US" sz="2000" b="1" noProof="0" dirty="0" smtClean="0"/>
              <a:t>safe</a:t>
            </a:r>
            <a:r>
              <a:rPr lang="en-US" sz="2000" noProof="0" dirty="0" smtClean="0"/>
              <a:t> way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43707" y="2074713"/>
            <a:ext cx="433116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Conc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Scrip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Read-</a:t>
            </a:r>
            <a:r>
              <a:rPr lang="en-US" sz="2000" dirty="0" err="1" smtClean="0"/>
              <a:t>Eval</a:t>
            </a:r>
            <a:r>
              <a:rPr lang="en-US" sz="2000" dirty="0" smtClean="0"/>
              <a:t>-Print-Loop (REP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Functional (Higher Order Function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Extend existing classes (</a:t>
            </a:r>
            <a:r>
              <a:rPr lang="en-US" sz="2000" dirty="0" err="1" smtClean="0"/>
              <a:t>implicits</a:t>
            </a:r>
            <a:r>
              <a:rPr lang="en-US" sz="20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Duck Typing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4987779" y="2074713"/>
            <a:ext cx="388843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IDE’S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Fewer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Good Docu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Open 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Runs on JVM, inter-op with Jav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Dynamic Featur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66392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List Arithmetic – Operations on list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0620"/>
            <a:ext cx="5318312" cy="2760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9972" y="3281082"/>
            <a:ext cx="4266796" cy="150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139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Mapping List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890587"/>
            <a:ext cx="8243888" cy="420501"/>
          </a:xfrm>
        </p:spPr>
        <p:txBody>
          <a:bodyPr/>
          <a:lstStyle/>
          <a:p>
            <a:r>
              <a:rPr lang="en-US" sz="2400" noProof="0" dirty="0" smtClean="0"/>
              <a:t>List mapping operations</a:t>
            </a:r>
          </a:p>
          <a:p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4" y="1511113"/>
            <a:ext cx="8901475" cy="2045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0618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Reducing Lists (1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5421"/>
            <a:ext cx="8243888" cy="365155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Math reduction operation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2230" y="1250575"/>
            <a:ext cx="6598222" cy="1260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744" y="2904479"/>
            <a:ext cx="6718851" cy="173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 bwMode="gray">
          <a:xfrm>
            <a:off x="286825" y="2563143"/>
            <a:ext cx="8243888" cy="33355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/>
              <a:t>Boolean reduction operation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1581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Reducing Lists (2 / 2 )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88213" y="897311"/>
            <a:ext cx="4074505" cy="330231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Generic list reduction operations</a:t>
            </a:r>
            <a:endParaRPr lang="en-US" sz="2000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7" name="Content Placeholder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134" y="1227541"/>
            <a:ext cx="5729636" cy="355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296554" y="1341841"/>
            <a:ext cx="269952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Fold</a:t>
            </a:r>
            <a:r>
              <a:rPr lang="en-US" dirty="0" smtClean="0"/>
              <a:t>, </a:t>
            </a:r>
            <a:r>
              <a:rPr lang="en-US" b="1" dirty="0" smtClean="0"/>
              <a:t>reduce</a:t>
            </a:r>
            <a:r>
              <a:rPr lang="en-US" dirty="0" smtClean="0"/>
              <a:t>, </a:t>
            </a:r>
            <a:r>
              <a:rPr lang="en-US" b="1" dirty="0" smtClean="0"/>
              <a:t>scan</a:t>
            </a:r>
            <a:r>
              <a:rPr lang="en-US" dirty="0" smtClean="0"/>
              <a:t> are just for distributed parallel, collections</a:t>
            </a:r>
          </a:p>
          <a:p>
            <a:endParaRPr lang="en-US" dirty="0" smtClean="0"/>
          </a:p>
          <a:p>
            <a:r>
              <a:rPr lang="en-US" b="1" dirty="0" smtClean="0"/>
              <a:t>Left</a:t>
            </a:r>
            <a:r>
              <a:rPr lang="en-US" dirty="0" smtClean="0"/>
              <a:t> is preferred unless right-to-left iteration i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57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Set 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4034"/>
            <a:ext cx="8538928" cy="3362325"/>
          </a:xfrm>
        </p:spPr>
        <p:txBody>
          <a:bodyPr>
            <a:noAutofit/>
          </a:bodyPr>
          <a:lstStyle/>
          <a:p>
            <a:r>
              <a:rPr lang="en-US" sz="2000" noProof="0" dirty="0" smtClean="0"/>
              <a:t>A Set is an </a:t>
            </a:r>
            <a:r>
              <a:rPr lang="en-US" sz="2000" b="1" noProof="0" dirty="0" smtClean="0"/>
              <a:t>immutable</a:t>
            </a:r>
            <a:r>
              <a:rPr lang="en-US" sz="2000" noProof="0" dirty="0" smtClean="0"/>
              <a:t> and </a:t>
            </a:r>
            <a:r>
              <a:rPr lang="en-US" sz="2000" b="1" noProof="0" dirty="0" smtClean="0"/>
              <a:t>unordered</a:t>
            </a:r>
            <a:r>
              <a:rPr lang="en-US" sz="2000" noProof="0" dirty="0" smtClean="0"/>
              <a:t> collection of </a:t>
            </a:r>
            <a:r>
              <a:rPr lang="en-US" sz="2000" b="1" noProof="0" dirty="0" smtClean="0"/>
              <a:t>unique</a:t>
            </a:r>
            <a:r>
              <a:rPr lang="en-US" sz="2000" noProof="0" dirty="0" smtClean="0"/>
              <a:t> elements. It works similarly to a List</a:t>
            </a:r>
          </a:p>
          <a:p>
            <a:pPr marL="0" indent="0">
              <a:buNone/>
            </a:pPr>
            <a:endParaRPr lang="en-US" sz="2000" noProof="0" dirty="0" smtClean="0"/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unique = Set(10, 20, 30, 20, 20, 10)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unique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immutable.Se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Set(10, 20, 30)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um =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nique.reduce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 (a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b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&gt; a + b )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um: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60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84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Map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218" y="813548"/>
            <a:ext cx="8740587" cy="3919817"/>
          </a:xfrm>
        </p:spPr>
        <p:txBody>
          <a:bodyPr>
            <a:noAutofit/>
          </a:bodyPr>
          <a:lstStyle/>
          <a:p>
            <a:pPr marL="180975" indent="-180975"/>
            <a:r>
              <a:rPr lang="en-US" sz="2000" noProof="0" dirty="0" smtClean="0"/>
              <a:t>A Map is an immutable </a:t>
            </a:r>
            <a:r>
              <a:rPr lang="en-US" sz="2000" b="1" noProof="0" dirty="0" smtClean="0"/>
              <a:t>key-value</a:t>
            </a:r>
            <a:r>
              <a:rPr lang="en-US" sz="2000" noProof="0" dirty="0" smtClean="0"/>
              <a:t> store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Map("red"-&gt;0xFF0000,"green"-&gt;0xFF00,"blue"-&gt;0xFF)</a:t>
            </a:r>
          </a:p>
          <a:p>
            <a:pPr marL="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immutable.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ing,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p(red -&gt; 16711680, green -&gt; 65280, blue -&gt; 255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RGB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red")</a:t>
            </a:r>
          </a:p>
          <a:p>
            <a:pPr marL="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dRGB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16711680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yanRGB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green") |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blue")</a:t>
            </a:r>
          </a:p>
          <a:p>
            <a:pPr marL="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yanRGB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65535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sWhit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Map.contain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white")</a:t>
            </a:r>
          </a:p>
          <a:p>
            <a:pPr marL="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asWhit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Boolean = false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airs &lt;-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orMap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pairs)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red,16711680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green,65280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blue,255)</a:t>
            </a:r>
          </a:p>
          <a:p>
            <a:pPr marL="457200" indent="-457200"/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sz="14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scala</a:t>
            </a:r>
          </a:p>
        </p:txBody>
      </p:sp>
    </p:spTree>
    <p:extLst>
      <p:ext uri="{BB962C8B-B14F-4D97-AF65-F5344CB8AC3E}">
        <p14:creationId xmlns:p14="http://schemas.microsoft.com/office/powerpoint/2010/main" val="2702376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Converting collections (1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3727" y="904035"/>
            <a:ext cx="8243888" cy="1124458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It is easy to </a:t>
            </a:r>
            <a:r>
              <a:rPr lang="en-US" sz="2000" b="1" noProof="0" dirty="0" smtClean="0"/>
              <a:t>convert between types</a:t>
            </a:r>
            <a:r>
              <a:rPr lang="en-US" sz="2000" noProof="0" dirty="0" smtClean="0"/>
              <a:t>, so you can create a collection with one type and end up with the other</a:t>
            </a:r>
          </a:p>
          <a:p>
            <a:r>
              <a:rPr lang="en-US" sz="2000" noProof="0" dirty="0" smtClean="0"/>
              <a:t>Operations to convert collections</a:t>
            </a:r>
          </a:p>
          <a:p>
            <a:pPr marL="0" indent="0">
              <a:buNone/>
            </a:pPr>
            <a:endParaRPr lang="en-US" sz="2000" noProof="0" dirty="0" smtClean="0"/>
          </a:p>
          <a:p>
            <a:endParaRPr lang="en-US" sz="2000" noProof="0" dirty="0" smtClean="0"/>
          </a:p>
          <a:p>
            <a:endParaRPr lang="en-US" sz="2000" noProof="0" dirty="0" smtClean="0"/>
          </a:p>
          <a:p>
            <a:endParaRPr lang="en-US" sz="2000" noProof="0" dirty="0" smtClean="0"/>
          </a:p>
          <a:p>
            <a:endParaRPr lang="en-US" sz="2000" noProof="0" dirty="0" smtClean="0"/>
          </a:p>
          <a:p>
            <a:endParaRPr lang="en-US" sz="2000" noProof="0" dirty="0" smtClean="0"/>
          </a:p>
          <a:p>
            <a:pPr marL="0" indent="0">
              <a:buNone/>
            </a:pPr>
            <a:endParaRPr lang="en-US" sz="2000" noProof="0" dirty="0" smtClean="0"/>
          </a:p>
          <a:p>
            <a:endParaRPr lang="en-US" sz="2400" noProof="0" dirty="0" smtClean="0"/>
          </a:p>
          <a:p>
            <a:endParaRPr lang="en-U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82" y="2028492"/>
            <a:ext cx="8752609" cy="266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546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Converting collections (2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3727" y="904035"/>
            <a:ext cx="8243888" cy="870978"/>
          </a:xfrm>
        </p:spPr>
        <p:txBody>
          <a:bodyPr>
            <a:normAutofit/>
          </a:bodyPr>
          <a:lstStyle/>
          <a:p>
            <a:r>
              <a:rPr lang="en-US" sz="2000" noProof="0" dirty="0" smtClean="0"/>
              <a:t>Java and Scala collection conversions: </a:t>
            </a:r>
          </a:p>
          <a:p>
            <a:pPr marL="0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llection.JavaConverters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_</a:t>
            </a:r>
          </a:p>
          <a:p>
            <a:pPr marL="0" indent="0">
              <a:buNone/>
            </a:pPr>
            <a:endParaRPr lang="en-US" sz="2000" noProof="0" dirty="0" smtClean="0"/>
          </a:p>
          <a:p>
            <a:endParaRPr lang="en-US" sz="2400" noProof="0" dirty="0" smtClean="0"/>
          </a:p>
          <a:p>
            <a:endParaRPr lang="en-U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29" y="1890960"/>
            <a:ext cx="8533418" cy="1363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809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noProof="0" dirty="0" smtClean="0"/>
              <a:t>Pattern Matching with Collections (1 / 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1830" y="853329"/>
            <a:ext cx="4215699" cy="3916736"/>
          </a:xfrm>
        </p:spPr>
        <p:txBody>
          <a:bodyPr>
            <a:noAutofit/>
          </a:bodyPr>
          <a:lstStyle/>
          <a:p>
            <a:r>
              <a:rPr lang="en-US" sz="1800" dirty="0" smtClean="0"/>
              <a:t>M</a:t>
            </a:r>
            <a:r>
              <a:rPr lang="en-US" sz="1800" noProof="0" dirty="0" err="1" smtClean="0"/>
              <a:t>atch</a:t>
            </a:r>
            <a:r>
              <a:rPr lang="en-US" sz="1800" noProof="0" dirty="0" smtClean="0"/>
              <a:t> single value patterns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tatuses =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500, 404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atuses: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[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500, 404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tuses.head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if x &lt; 500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okay"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_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hoah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an error"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hoah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an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error</a:t>
            </a:r>
            <a:endParaRPr lang="en-US" sz="1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noProof="0" dirty="0" smtClean="0"/>
              <a:t>Match a single value inside a collection: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statuses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if x contains(500)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error"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_ </a:t>
            </a:r>
            <a:r>
              <a:rPr lang="en-US" sz="14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okay"</a:t>
            </a:r>
          </a:p>
          <a:p>
            <a:pPr marL="0" lvl="1" indent="0">
              <a:buNone/>
            </a:pP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None/>
            </a:pPr>
            <a:r>
              <a:rPr lang="en-US" sz="1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 = has error</a:t>
            </a:r>
          </a:p>
          <a:p>
            <a:pPr marL="400050" lvl="1" indent="0">
              <a:buNone/>
            </a:pPr>
            <a:endParaRPr lang="en-US" sz="105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noProof="0" dirty="0" smtClean="0"/>
          </a:p>
          <a:p>
            <a:pPr marL="457200" indent="-457200"/>
            <a:endParaRPr lang="en-US" sz="12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gray">
          <a:xfrm>
            <a:off x="4791588" y="850526"/>
            <a:ext cx="3989341" cy="26317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>
                <a:cs typeface="ＭＳ Ｐゴシック" charset="0"/>
              </a:rPr>
              <a:t>Match entire collections: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statuses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 List(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404, 500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not found"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500, 404)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error"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ist(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00, 200)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okay"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case _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&gt;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not sure what happened"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 = error &amp; not found</a:t>
            </a:r>
          </a:p>
          <a:p>
            <a:pPr marL="400050" lvl="1" indent="0">
              <a:buFont typeface="Wingdings" panose="05000000000000000000" pitchFamily="2" charset="2"/>
              <a:buNone/>
            </a:pPr>
            <a:endParaRPr lang="en-US" sz="105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 smtClean="0"/>
          </a:p>
          <a:p>
            <a:pPr marL="457200" indent="-457200"/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30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noProof="0" dirty="0" smtClean="0"/>
              <a:t>Pattern Matching with Collections (2 / 2)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91290" y="866845"/>
            <a:ext cx="4495800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lvl="0" indent="-179388" defTabSz="685800">
              <a:spcBef>
                <a:spcPts val="600"/>
              </a:spcBef>
              <a:buClr>
                <a:srgbClr val="0097D9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ea typeface="ＭＳ Ｐゴシック" pitchFamily="34" charset="-128"/>
                <a:cs typeface="ＭＳ Ｐゴシック" charset="0"/>
              </a:rPr>
              <a:t>Bind values to some or all elements of a collection</a:t>
            </a:r>
          </a:p>
          <a:p>
            <a:pPr marL="180975" lvl="1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statuses match {</a:t>
            </a:r>
          </a:p>
          <a:p>
            <a:pPr marL="180975" lvl="1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ist(500, x) =&gt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Erro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y $x"</a:t>
            </a:r>
          </a:p>
          <a:p>
            <a:pPr marL="180975" lvl="1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ist(e, x) =&gt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$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y $x"</a:t>
            </a:r>
          </a:p>
          <a:p>
            <a:pPr marL="180975" lvl="1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lvl="1">
              <a:buNone/>
            </a:pP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 = Error followed by 404</a:t>
            </a:r>
            <a:endParaRPr lang="en-US" sz="1400" dirty="0" smtClean="0">
              <a:ea typeface="ＭＳ Ｐゴシック" pitchFamily="34" charset="-128"/>
              <a:cs typeface="ＭＳ Ｐゴシック" charset="0"/>
            </a:endParaRPr>
          </a:p>
          <a:p>
            <a:pPr marL="179388" lvl="0" indent="-179388" defTabSz="685800">
              <a:spcBef>
                <a:spcPts val="600"/>
              </a:spcBef>
              <a:buClr>
                <a:srgbClr val="0097D9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ea typeface="ＭＳ Ｐゴシック" pitchFamily="34" charset="-128"/>
                <a:cs typeface="ＭＳ Ｐゴシック" charset="0"/>
              </a:rPr>
              <a:t>Lists are decomposable in head &amp; tail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ead = List('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','g','b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')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::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xs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&gt; x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il =&gt; ' '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ead: Char = r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71937" y="866845"/>
            <a:ext cx="4510698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lvl="0" indent="-179388" defTabSz="685800">
              <a:spcBef>
                <a:spcPts val="600"/>
              </a:spcBef>
              <a:buClr>
                <a:srgbClr val="0097D9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ea typeface="ＭＳ Ｐゴシック" pitchFamily="34" charset="-128"/>
                <a:cs typeface="ＭＳ Ｐゴシック" charset="0"/>
              </a:rPr>
              <a:t>Tuples also support patter matching</a:t>
            </a:r>
          </a:p>
          <a:p>
            <a:pPr lvl="0" defTabSz="685800">
              <a:spcBef>
                <a:spcPts val="600"/>
              </a:spcBef>
              <a:buClr>
                <a:srgbClr val="0097D9"/>
              </a:buClr>
            </a:pPr>
            <a:endParaRPr lang="en-US" sz="1600" dirty="0" smtClean="0">
              <a:ea typeface="ＭＳ Ｐゴシック" pitchFamily="34" charset="-128"/>
              <a:cs typeface="ＭＳ Ｐゴシック" charset="0"/>
            </a:endParaRP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de = ('h', 204, true)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_, _, false) =&gt; 501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'c', _, true) =&gt; 302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'h', x, true) =&gt; x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c, x, true) =&gt; {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no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expect code $c")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x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lvl="1"/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ode: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204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372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noProof="0" dirty="0" smtClean="0"/>
              <a:t>Scala</a:t>
            </a:r>
            <a:r>
              <a:rPr lang="en-US" noProof="0" dirty="0" smtClean="0"/>
              <a:t> good integra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noProof="0" dirty="0" smtClean="0"/>
              <a:t>Can be used as drop-in replacement for Java</a:t>
            </a:r>
          </a:p>
          <a:p>
            <a:r>
              <a:rPr lang="en-US" sz="2400" noProof="0" dirty="0" smtClean="0"/>
              <a:t>Mixed Scala/Java projects</a:t>
            </a:r>
          </a:p>
          <a:p>
            <a:r>
              <a:rPr lang="en-US" sz="2400" noProof="0" dirty="0" smtClean="0"/>
              <a:t>Use existing Java libraries</a:t>
            </a:r>
          </a:p>
          <a:p>
            <a:r>
              <a:rPr lang="en-US" sz="2400" noProof="0" dirty="0" smtClean="0"/>
              <a:t>Use existing Java tools (Ant, Maven, JUnit, </a:t>
            </a:r>
            <a:r>
              <a:rPr lang="en-US" sz="2400" noProof="0" dirty="0" err="1" smtClean="0"/>
              <a:t>etc</a:t>
            </a:r>
            <a:r>
              <a:rPr lang="en-US" sz="2400" noProof="0" dirty="0" smtClean="0"/>
              <a:t>…)</a:t>
            </a:r>
          </a:p>
          <a:p>
            <a:r>
              <a:rPr lang="en-US" sz="2400" noProof="0" dirty="0" smtClean="0"/>
              <a:t>Decent IDE Support (NetBeans, IntelliJ, Eclipse)</a:t>
            </a:r>
          </a:p>
          <a:p>
            <a:endParaRPr lang="en-U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823" y="3555856"/>
            <a:ext cx="3684897" cy="1041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3640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Exerci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7"/>
            <a:ext cx="8243888" cy="507907"/>
          </a:xfrm>
        </p:spPr>
        <p:txBody>
          <a:bodyPr>
            <a:noAutofit/>
          </a:bodyPr>
          <a:lstStyle/>
          <a:p>
            <a:r>
              <a:rPr lang="en-US" sz="3200" b="1" noProof="0" dirty="0" smtClean="0"/>
              <a:t>Exercise 6 – Common Collections</a:t>
            </a:r>
          </a:p>
          <a:p>
            <a:endParaRPr lang="en-US" sz="32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63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615553"/>
          </a:xfrm>
        </p:spPr>
        <p:txBody>
          <a:bodyPr/>
          <a:lstStyle/>
          <a:p>
            <a:r>
              <a:rPr lang="en-US" dirty="0" smtClean="0"/>
              <a:t>8. More Collections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0505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Mutable / Immutable (1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4034"/>
            <a:ext cx="6273099" cy="3362325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Until now immutable collections</a:t>
            </a:r>
          </a:p>
          <a:p>
            <a:pPr marL="0" indent="0">
              <a:buNone/>
            </a:pPr>
            <a:endParaRPr lang="en-US" sz="1800" noProof="0" dirty="0" smtClean="0"/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 = Map("AAPL" -&gt; 597, "MSFT" -&gt; 40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immutable.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ing,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p(AAPL -&gt; 597, MSFT -&gt; 40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 = m - "AAPL" + ("GOOG" -&gt; 521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llection.immutable.Map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ing,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p(MSFT -&gt; 40, GOOG -&gt; 521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m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p(AAPL -&gt; 597, MSFT -&gt; 40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5758011" y="910757"/>
            <a:ext cx="3043089" cy="302559"/>
          </a:xfrm>
          <a:prstGeom prst="wedgeRoundRectCallout">
            <a:avLst>
              <a:gd name="adj1" fmla="val -36327"/>
              <a:gd name="adj2" fmla="val 157105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A new map with “AAPL” and “MSFT” keys.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6655948" y="2773175"/>
            <a:ext cx="2346858" cy="655825"/>
          </a:xfrm>
          <a:prstGeom prst="wedgeRoundRectCallout">
            <a:avLst>
              <a:gd name="adj1" fmla="val -149244"/>
              <a:gd name="adj2" fmla="val -13761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b="1" dirty="0">
                <a:solidFill>
                  <a:srgbClr val="213E7F"/>
                </a:solidFill>
              </a:rPr>
              <a:t>Removing</a:t>
            </a:r>
            <a:r>
              <a:rPr lang="en-GB" sz="1200" dirty="0">
                <a:solidFill>
                  <a:srgbClr val="213E7F"/>
                </a:solidFill>
              </a:rPr>
              <a:t> “APPL” and </a:t>
            </a:r>
            <a:r>
              <a:rPr lang="en-GB" sz="1200" b="1" dirty="0">
                <a:solidFill>
                  <a:srgbClr val="213E7F"/>
                </a:solidFill>
              </a:rPr>
              <a:t>adding</a:t>
            </a:r>
            <a:r>
              <a:rPr lang="en-GB" sz="1200" dirty="0">
                <a:solidFill>
                  <a:srgbClr val="213E7F"/>
                </a:solidFill>
              </a:rPr>
              <a:t> “GOOG” gives us a </a:t>
            </a:r>
            <a:r>
              <a:rPr lang="en-GB" sz="1200" b="1" dirty="0">
                <a:solidFill>
                  <a:srgbClr val="213E7F"/>
                </a:solidFill>
              </a:rPr>
              <a:t>different collection</a:t>
            </a:r>
            <a:r>
              <a:rPr lang="en-GB" sz="1200" dirty="0">
                <a:solidFill>
                  <a:srgbClr val="213E7F"/>
                </a:solidFill>
              </a:rPr>
              <a:t>…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4829324" y="4196881"/>
            <a:ext cx="3324076" cy="407893"/>
          </a:xfrm>
          <a:prstGeom prst="wedgeRoundRectCallout">
            <a:avLst>
              <a:gd name="adj1" fmla="val -69658"/>
              <a:gd name="adj2" fmla="val -182957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… while the </a:t>
            </a:r>
            <a:r>
              <a:rPr lang="en-GB" sz="1200" b="1" dirty="0">
                <a:solidFill>
                  <a:srgbClr val="213E7F"/>
                </a:solidFill>
              </a:rPr>
              <a:t>original collection </a:t>
            </a:r>
            <a:r>
              <a:rPr lang="en-GB" sz="1200" dirty="0">
                <a:solidFill>
                  <a:srgbClr val="213E7F"/>
                </a:solidFill>
              </a:rPr>
              <a:t>in “m” remains </a:t>
            </a:r>
            <a:r>
              <a:rPr lang="en-GB" sz="1200" b="1" dirty="0">
                <a:solidFill>
                  <a:srgbClr val="213E7F"/>
                </a:solidFill>
              </a:rPr>
              <a:t>the same</a:t>
            </a:r>
          </a:p>
        </p:txBody>
      </p:sp>
    </p:spTree>
    <p:extLst>
      <p:ext uri="{BB962C8B-B14F-4D97-AF65-F5344CB8AC3E}">
        <p14:creationId xmlns:p14="http://schemas.microsoft.com/office/powerpoint/2010/main" val="129005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dirty="0"/>
              <a:t>Mutable / Immutable </a:t>
            </a:r>
            <a:r>
              <a:rPr lang="en-US" dirty="0" smtClean="0"/>
              <a:t>(2/2</a:t>
            </a:r>
            <a:r>
              <a:rPr lang="en-US" dirty="0"/>
              <a:t>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904035"/>
            <a:ext cx="8243888" cy="1032341"/>
          </a:xfrm>
        </p:spPr>
        <p:txBody>
          <a:bodyPr>
            <a:normAutofit/>
          </a:bodyPr>
          <a:lstStyle/>
          <a:p>
            <a:r>
              <a:rPr lang="en-US" sz="2000" dirty="0"/>
              <a:t>W</a:t>
            </a:r>
            <a:r>
              <a:rPr lang="en-US" sz="2000" noProof="0" dirty="0" smtClean="0"/>
              <a:t>e can work with mutable collections when </a:t>
            </a:r>
            <a:r>
              <a:rPr lang="en-US" sz="2000" b="1" noProof="0" dirty="0" smtClean="0"/>
              <a:t>it will be safe </a:t>
            </a:r>
            <a:r>
              <a:rPr lang="en-US" sz="2000" noProof="0" dirty="0" smtClean="0"/>
              <a:t>to use: </a:t>
            </a:r>
          </a:p>
          <a:p>
            <a:pPr lvl="1"/>
            <a:r>
              <a:rPr lang="en-US" sz="2000" b="1" noProof="0" dirty="0" smtClean="0"/>
              <a:t>Mutable data </a:t>
            </a:r>
            <a:r>
              <a:rPr lang="en-US" sz="2000" noProof="0" dirty="0" smtClean="0"/>
              <a:t>structure within a function</a:t>
            </a:r>
          </a:p>
          <a:p>
            <a:pPr lvl="1"/>
            <a:r>
              <a:rPr lang="en-US" sz="2000" dirty="0" smtClean="0"/>
              <a:t>Data </a:t>
            </a:r>
            <a:r>
              <a:rPr lang="en-US" sz="2000" noProof="0" dirty="0" smtClean="0"/>
              <a:t>converted to </a:t>
            </a:r>
            <a:r>
              <a:rPr lang="en-US" sz="2000" b="1" noProof="0" dirty="0" smtClean="0"/>
              <a:t>immutable before being returned </a:t>
            </a:r>
            <a:r>
              <a:rPr lang="en-US" sz="2000" noProof="0" dirty="0" smtClean="0"/>
              <a:t>(</a:t>
            </a:r>
            <a:r>
              <a:rPr lang="en-US" sz="2000" i="1" noProof="0" dirty="0" smtClean="0"/>
              <a:t>E.g. .</a:t>
            </a:r>
            <a:r>
              <a:rPr lang="en-US" sz="2000" i="1" noProof="0" dirty="0" err="1" smtClean="0"/>
              <a:t>toList</a:t>
            </a:r>
            <a:r>
              <a:rPr lang="en-US" sz="2000" noProof="0" dirty="0" smtClean="0"/>
              <a:t>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304" y="3308607"/>
            <a:ext cx="5635926" cy="1337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40962" y="1936376"/>
            <a:ext cx="649484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GB" sz="1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s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llection.mutable.Buffer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]()</a:t>
            </a:r>
          </a:p>
          <a:p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s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ala.collection.mutable.Buffer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] = 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Buffer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r>
              <a:rPr lang="nn-NO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nn-NO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nn-NO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n-NO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nn-NO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i &lt;- 1 to 10</a:t>
            </a:r>
            <a:r>
              <a:rPr lang="nn-NO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nn-NO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nums += i</a:t>
            </a:r>
          </a:p>
          <a:p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ala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ums</a:t>
            </a:r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GB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Buffer(1, 2, 3, 4, 5, 6, 7, 8, 9, 10)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238593" y="3308607"/>
            <a:ext cx="3190407" cy="41601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/>
              <a:t>Mutable collection typ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5323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Array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8" y="897311"/>
            <a:ext cx="6692104" cy="3862948"/>
          </a:xfrm>
        </p:spPr>
        <p:txBody>
          <a:bodyPr>
            <a:normAutofit fontScale="92500" lnSpcReduction="20000"/>
          </a:bodyPr>
          <a:lstStyle/>
          <a:p>
            <a:r>
              <a:rPr lang="en-US" sz="1700" b="1" dirty="0"/>
              <a:t>F</a:t>
            </a:r>
            <a:r>
              <a:rPr lang="en-US" sz="1700" b="1" noProof="0" dirty="0" err="1" smtClean="0"/>
              <a:t>ixed</a:t>
            </a:r>
            <a:r>
              <a:rPr lang="en-US" sz="1700" b="1" noProof="0" dirty="0" smtClean="0"/>
              <a:t>-size</a:t>
            </a:r>
            <a:r>
              <a:rPr lang="en-US" sz="1700" noProof="0" dirty="0" smtClean="0"/>
              <a:t>, </a:t>
            </a:r>
            <a:r>
              <a:rPr lang="en-US" sz="1700" b="1" noProof="0" dirty="0" smtClean="0"/>
              <a:t>mutable</a:t>
            </a:r>
            <a:r>
              <a:rPr lang="en-US" sz="1700" noProof="0" dirty="0" smtClean="0"/>
              <a:t>, </a:t>
            </a:r>
            <a:r>
              <a:rPr lang="en-US" sz="1700" b="1" noProof="0" dirty="0" smtClean="0"/>
              <a:t>indexed collection</a:t>
            </a:r>
            <a:r>
              <a:rPr lang="en-US" sz="1700" noProof="0" dirty="0" smtClean="0"/>
              <a:t>. </a:t>
            </a:r>
          </a:p>
          <a:p>
            <a:r>
              <a:rPr lang="en-US" sz="1700" noProof="0" dirty="0" smtClean="0"/>
              <a:t>It’s not officially a collection, because it isn’t in the “</a:t>
            </a:r>
            <a:r>
              <a:rPr lang="en-US" sz="1700" noProof="0" dirty="0" err="1" smtClean="0"/>
              <a:t>scala.collections</a:t>
            </a:r>
            <a:r>
              <a:rPr lang="en-US" sz="1700" noProof="0" dirty="0" smtClean="0"/>
              <a:t>” package and </a:t>
            </a:r>
            <a:r>
              <a:rPr lang="en-US" sz="1700" b="1" noProof="0" dirty="0" smtClean="0"/>
              <a:t>doesn’t extend from the root </a:t>
            </a:r>
            <a:r>
              <a:rPr lang="en-US" sz="1700" b="1" noProof="0" dirty="0" err="1" smtClean="0"/>
              <a:t>Iterable</a:t>
            </a:r>
            <a:r>
              <a:rPr lang="en-US" sz="1700" b="1" noProof="0" dirty="0" smtClean="0"/>
              <a:t> type </a:t>
            </a:r>
          </a:p>
          <a:p>
            <a:pPr lvl="1"/>
            <a:r>
              <a:rPr lang="en-US" sz="1700" dirty="0"/>
              <a:t>A</a:t>
            </a:r>
            <a:r>
              <a:rPr lang="en-US" sz="1700" noProof="0" dirty="0" err="1" smtClean="0"/>
              <a:t>lthough</a:t>
            </a:r>
            <a:r>
              <a:rPr lang="en-US" sz="1700" noProof="0" dirty="0" smtClean="0"/>
              <a:t> it has all of the </a:t>
            </a:r>
            <a:r>
              <a:rPr lang="en-US" sz="1700" b="1" noProof="0" dirty="0" err="1" smtClean="0"/>
              <a:t>Iterable</a:t>
            </a:r>
            <a:r>
              <a:rPr lang="en-US" sz="1700" b="1" noProof="0" dirty="0" smtClean="0"/>
              <a:t> operations </a:t>
            </a:r>
            <a:r>
              <a:rPr lang="en-US" sz="1700" noProof="0" dirty="0" smtClean="0"/>
              <a:t>like map and filter)</a:t>
            </a:r>
          </a:p>
          <a:p>
            <a:r>
              <a:rPr lang="en-US" sz="1700" dirty="0"/>
              <a:t>W</a:t>
            </a:r>
            <a:r>
              <a:rPr lang="en-US" sz="1700" noProof="0" dirty="0" smtClean="0"/>
              <a:t>rapper around Java’s array type</a:t>
            </a:r>
          </a:p>
          <a:p>
            <a:r>
              <a:rPr lang="en-US" sz="1700" dirty="0"/>
              <a:t>C</a:t>
            </a:r>
            <a:r>
              <a:rPr lang="en-US" sz="1700" noProof="0" dirty="0" smtClean="0"/>
              <a:t>an be used like a sequence used to deal with Java code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lors = Array("red", "green", "blue")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olors: Array[String] = Array(red, green, blue)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olors(0) = "purple"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olors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0: Array[String] = Array(purple, green, blue)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very purple: " + colors)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very purple: [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java.lang.String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;@70cf32e3</a:t>
            </a:r>
          </a:p>
          <a:p>
            <a:pPr marL="400050" lvl="1" indent="0">
              <a:buNone/>
            </a:pPr>
            <a:endParaRPr lang="en-US" sz="11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iles = new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io.File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.").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stFiles</a:t>
            </a:r>
            <a:endParaRPr lang="en-US" sz="13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iles: Array[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io.File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Array(./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uild.scala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./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p.scala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cala = files map (_.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Name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filter(_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ndsWith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scala")</a:t>
            </a:r>
          </a:p>
          <a:p>
            <a:pPr marL="400050" lvl="1" indent="0">
              <a:buNone/>
            </a:pP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: Array[String] = Array(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uild.scala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3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p.scala</a:t>
            </a:r>
            <a:r>
              <a:rPr lang="en-US" sz="13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US" sz="13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7" name="Rounded Rectangular Callout 6"/>
          <p:cNvSpPr/>
          <p:nvPr/>
        </p:nvSpPr>
        <p:spPr>
          <a:xfrm>
            <a:off x="5912652" y="1905840"/>
            <a:ext cx="2101795" cy="447395"/>
          </a:xfrm>
          <a:prstGeom prst="wedgeRoundRectCallout">
            <a:avLst>
              <a:gd name="adj1" fmla="val -79193"/>
              <a:gd name="adj2" fmla="val 145082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Use a zero-based index to replace any item in an </a:t>
            </a:r>
            <a:r>
              <a:rPr lang="en-GB" sz="1200" dirty="0" smtClean="0">
                <a:solidFill>
                  <a:srgbClr val="213E7F"/>
                </a:solidFill>
              </a:rPr>
              <a:t>Array</a:t>
            </a:r>
            <a:endParaRPr lang="en-GB" sz="1200" dirty="0">
              <a:solidFill>
                <a:srgbClr val="213E7F"/>
              </a:solidFill>
            </a:endParaRPr>
          </a:p>
        </p:txBody>
      </p:sp>
      <p:sp>
        <p:nvSpPr>
          <p:cNvPr id="8" name="Rounded Rectangular Callout 7"/>
          <p:cNvSpPr/>
          <p:nvPr/>
        </p:nvSpPr>
        <p:spPr>
          <a:xfrm>
            <a:off x="6125562" y="2637302"/>
            <a:ext cx="2101795" cy="447395"/>
          </a:xfrm>
          <a:prstGeom prst="wedgeRoundRectCallout">
            <a:avLst>
              <a:gd name="adj1" fmla="val -119180"/>
              <a:gd name="adj2" fmla="val 74450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The Scala REPL knows how to print an Array …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6125562" y="3169023"/>
            <a:ext cx="2590373" cy="526675"/>
          </a:xfrm>
          <a:prstGeom prst="wedgeRoundRectCallout">
            <a:avLst>
              <a:gd name="adj1" fmla="val -101995"/>
              <a:gd name="adj2" fmla="val 42211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 smtClean="0">
                <a:solidFill>
                  <a:srgbClr val="213E7F"/>
                </a:solidFill>
              </a:rPr>
              <a:t>but </a:t>
            </a:r>
            <a:r>
              <a:rPr lang="en-GB" sz="1200" dirty="0">
                <a:solidFill>
                  <a:srgbClr val="213E7F"/>
                </a:solidFill>
              </a:rPr>
              <a:t>not </a:t>
            </a:r>
            <a:r>
              <a:rPr lang="en-GB" sz="1200" dirty="0" err="1">
                <a:solidFill>
                  <a:srgbClr val="213E7F"/>
                </a:solidFill>
              </a:rPr>
              <a:t>println</a:t>
            </a:r>
            <a:r>
              <a:rPr lang="en-GB" sz="1200" dirty="0">
                <a:solidFill>
                  <a:srgbClr val="213E7F"/>
                </a:solidFill>
              </a:rPr>
              <a:t>(), which can only call a type’s </a:t>
            </a:r>
            <a:r>
              <a:rPr lang="en-GB" sz="1200" dirty="0" err="1">
                <a:solidFill>
                  <a:srgbClr val="213E7F"/>
                </a:solidFill>
              </a:rPr>
              <a:t>toString</a:t>
            </a:r>
            <a:r>
              <a:rPr lang="en-GB" sz="1200" dirty="0">
                <a:solidFill>
                  <a:srgbClr val="213E7F"/>
                </a:solidFill>
              </a:rPr>
              <a:t>() method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7179681" y="3806352"/>
            <a:ext cx="1835525" cy="930791"/>
          </a:xfrm>
          <a:prstGeom prst="wedgeRoundRectCallout">
            <a:avLst>
              <a:gd name="adj1" fmla="val -99755"/>
              <a:gd name="adj2" fmla="val -33594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200" dirty="0">
                <a:solidFill>
                  <a:srgbClr val="213E7F"/>
                </a:solidFill>
              </a:rPr>
              <a:t>The </a:t>
            </a:r>
            <a:r>
              <a:rPr lang="en-GB" sz="1200" b="1" dirty="0" err="1">
                <a:solidFill>
                  <a:srgbClr val="213E7F"/>
                </a:solidFill>
              </a:rPr>
              <a:t>listFiles</a:t>
            </a:r>
            <a:r>
              <a:rPr lang="en-GB" sz="1200" dirty="0">
                <a:solidFill>
                  <a:srgbClr val="213E7F"/>
                </a:solidFill>
              </a:rPr>
              <a:t> method in </a:t>
            </a:r>
            <a:r>
              <a:rPr lang="en-GB" sz="1200" dirty="0" err="1">
                <a:solidFill>
                  <a:srgbClr val="213E7F"/>
                </a:solidFill>
              </a:rPr>
              <a:t>java.io.File</a:t>
            </a:r>
            <a:r>
              <a:rPr lang="en-GB" sz="1200" dirty="0">
                <a:solidFill>
                  <a:srgbClr val="213E7F"/>
                </a:solidFill>
              </a:rPr>
              <a:t>, a JDK class, returns an array that we can easily map and filter</a:t>
            </a:r>
          </a:p>
        </p:txBody>
      </p:sp>
    </p:spTree>
    <p:extLst>
      <p:ext uri="{BB962C8B-B14F-4D97-AF65-F5344CB8AC3E}">
        <p14:creationId xmlns:p14="http://schemas.microsoft.com/office/powerpoint/2010/main" val="313332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Seq</a:t>
            </a:r>
            <a:r>
              <a:rPr lang="en-US" noProof="0" dirty="0" smtClean="0"/>
              <a:t> &amp; Sequenc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904035"/>
            <a:ext cx="8243888" cy="1205882"/>
          </a:xfrm>
        </p:spPr>
        <p:txBody>
          <a:bodyPr>
            <a:normAutofit/>
          </a:bodyPr>
          <a:lstStyle/>
          <a:p>
            <a:r>
              <a:rPr lang="en-US" sz="2000" b="1" noProof="0" dirty="0" err="1" smtClean="0"/>
              <a:t>Seq</a:t>
            </a:r>
            <a:r>
              <a:rPr lang="en-US" sz="2000" noProof="0" dirty="0" smtClean="0"/>
              <a:t> the root type of all sequences</a:t>
            </a:r>
          </a:p>
          <a:p>
            <a:r>
              <a:rPr lang="en-US" sz="2000" noProof="0" dirty="0" smtClean="0"/>
              <a:t>Not </a:t>
            </a:r>
            <a:r>
              <a:rPr lang="en-US" sz="2000" b="1" noProof="0" dirty="0" smtClean="0"/>
              <a:t>instantiable</a:t>
            </a:r>
            <a:r>
              <a:rPr lang="en-US" sz="2000" noProof="0" dirty="0" smtClean="0"/>
              <a:t> but </a:t>
            </a:r>
            <a:r>
              <a:rPr lang="en-US" sz="2000" b="1" noProof="0" dirty="0" smtClean="0"/>
              <a:t>shortcut</a:t>
            </a:r>
            <a:r>
              <a:rPr lang="en-US" sz="2000" noProof="0" dirty="0" smtClean="0"/>
              <a:t> for creating List</a:t>
            </a:r>
          </a:p>
          <a:p>
            <a:r>
              <a:rPr lang="en-US" sz="2000" noProof="0" dirty="0" smtClean="0"/>
              <a:t>The sequence collections hierarchy:</a:t>
            </a:r>
            <a:endParaRPr lang="en-US" sz="20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09" y="2049404"/>
            <a:ext cx="4627119" cy="2273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374" y="2109917"/>
            <a:ext cx="3922943" cy="2327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560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Streams 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36799"/>
            <a:ext cx="8243888" cy="3362325"/>
          </a:xfrm>
        </p:spPr>
        <p:txBody>
          <a:bodyPr>
            <a:noAutofit/>
          </a:bodyPr>
          <a:lstStyle/>
          <a:p>
            <a:r>
              <a:rPr lang="en-US" sz="2400" noProof="0" dirty="0" smtClean="0"/>
              <a:t>Popular collection in functional programming Languages</a:t>
            </a:r>
          </a:p>
          <a:p>
            <a:r>
              <a:rPr lang="en-US" sz="2400" noProof="0" dirty="0" smtClean="0"/>
              <a:t>Builds </a:t>
            </a:r>
            <a:r>
              <a:rPr lang="en-US" sz="2400" b="1" noProof="0" dirty="0" smtClean="0"/>
              <a:t>itself</a:t>
            </a:r>
            <a:r>
              <a:rPr lang="en-US" sz="2400" noProof="0" dirty="0" smtClean="0"/>
              <a:t> as its elements are accessed</a:t>
            </a:r>
          </a:p>
          <a:p>
            <a:r>
              <a:rPr lang="en-US" sz="2400" b="1" noProof="0" dirty="0" smtClean="0"/>
              <a:t>Lazy collection</a:t>
            </a:r>
            <a:r>
              <a:rPr lang="en-US" sz="2400" noProof="0" dirty="0" smtClean="0"/>
              <a:t>. Generated from one or more starting elements and a recursive function</a:t>
            </a:r>
          </a:p>
          <a:p>
            <a:r>
              <a:rPr lang="en-US" sz="2400" noProof="0" dirty="0" smtClean="0"/>
              <a:t>They are </a:t>
            </a:r>
            <a:r>
              <a:rPr lang="en-US" sz="2400" b="1" noProof="0" dirty="0" smtClean="0"/>
              <a:t>theoretically infinite collections</a:t>
            </a:r>
          </a:p>
          <a:p>
            <a:r>
              <a:rPr lang="en-US" sz="2400" noProof="0" dirty="0" smtClean="0"/>
              <a:t>Streams </a:t>
            </a:r>
            <a:r>
              <a:rPr lang="en-US" sz="2400" b="1" noProof="0" dirty="0" smtClean="0"/>
              <a:t>end</a:t>
            </a:r>
            <a:r>
              <a:rPr lang="en-US" sz="2400" noProof="0" dirty="0" smtClean="0"/>
              <a:t> with </a:t>
            </a:r>
            <a:r>
              <a:rPr lang="en-US" sz="2400" noProof="0" dirty="0" err="1" smtClean="0"/>
              <a:t>Stream.Empty</a:t>
            </a:r>
            <a:endParaRPr lang="en-US" sz="2400" noProof="0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730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Streams – Examp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347" y="924204"/>
            <a:ext cx="8579224" cy="3903289"/>
          </a:xfrm>
        </p:spPr>
        <p:txBody>
          <a:bodyPr>
            <a:noAutofit/>
          </a:bodyPr>
          <a:lstStyle/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c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: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c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i+1)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or using cons operator #:: (via implicit conversion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c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head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: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head #: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c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head+1)</a:t>
            </a:r>
          </a:p>
          <a:p>
            <a:pPr marL="0" lvl="1" indent="0">
              <a:buNone/>
            </a:pP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c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ream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c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: Stream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Stream(1, ?) //one element and a promise of futures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?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.tak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5).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//forcing to build next four elements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: List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List(1, 2, 3, 4, 5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s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1: Stream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Stream(1, 2, 3, 4, 5, ?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65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Streams – Bounded Stream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9407" y="1159529"/>
            <a:ext cx="8565822" cy="3362325"/>
          </a:xfrm>
        </p:spPr>
        <p:txBody>
          <a:bodyPr>
            <a:noAutofit/>
          </a:bodyPr>
          <a:lstStyle/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o(head: Char, end: Char): Stream[Char] = (head &gt; end)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atch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rue =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eam.empty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alse =&gt; head #:: to((head+1).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Cha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end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o: (head: Char, end: Char)Stream[Char]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exChar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to('A', 'F').take(20).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List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exChar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List[Char] = List(A, B, C, D, E, F)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68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Monadic Collection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noProof="0" dirty="0" smtClean="0"/>
              <a:t>Scale only for a single element</a:t>
            </a:r>
          </a:p>
          <a:p>
            <a:r>
              <a:rPr lang="en-US" sz="2400" noProof="0" dirty="0" smtClean="0"/>
              <a:t>Support transformative operations like the ones in </a:t>
            </a:r>
            <a:r>
              <a:rPr lang="en-US" sz="2400" b="1" noProof="0" dirty="0" err="1" smtClean="0"/>
              <a:t>Iterable</a:t>
            </a:r>
            <a:r>
              <a:rPr lang="en-US" sz="2400" noProof="0" dirty="0" smtClean="0"/>
              <a:t> (that support “map” for example)</a:t>
            </a:r>
          </a:p>
          <a:p>
            <a:pPr marL="0" indent="0">
              <a:buNone/>
            </a:pPr>
            <a:endParaRPr lang="en-US" sz="2400" noProof="0" dirty="0" smtClean="0"/>
          </a:p>
          <a:p>
            <a:r>
              <a:rPr lang="en-US" sz="2400" noProof="0" dirty="0" smtClean="0"/>
              <a:t>Most important:</a:t>
            </a:r>
          </a:p>
          <a:p>
            <a:pPr lvl="1"/>
            <a:r>
              <a:rPr lang="en-US" sz="2400" noProof="0" dirty="0" smtClean="0"/>
              <a:t>Option Collections</a:t>
            </a:r>
          </a:p>
          <a:p>
            <a:pPr lvl="1"/>
            <a:r>
              <a:rPr lang="en-US" sz="2400" noProof="0" dirty="0" smtClean="0"/>
              <a:t>Try Collections</a:t>
            </a:r>
          </a:p>
          <a:p>
            <a:pPr lvl="1"/>
            <a:r>
              <a:rPr lang="en-US" sz="2400" noProof="0" dirty="0" smtClean="0"/>
              <a:t>Future Collections</a:t>
            </a:r>
            <a:endParaRPr lang="en-U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48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1231106"/>
          </a:xfrm>
        </p:spPr>
        <p:txBody>
          <a:bodyPr/>
          <a:lstStyle/>
          <a:p>
            <a:r>
              <a:rPr lang="en-US" dirty="0"/>
              <a:t>2</a:t>
            </a:r>
            <a:r>
              <a:rPr lang="en-US" noProof="0" dirty="0" smtClean="0"/>
              <a:t>. </a:t>
            </a:r>
            <a:r>
              <a:rPr lang="en-US" dirty="0"/>
              <a:t>Basic Operations – Type </a:t>
            </a:r>
            <a:r>
              <a:rPr lang="en-US" dirty="0" smtClean="0"/>
              <a:t>Inference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6926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Option Collections (1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3864"/>
            <a:ext cx="3987099" cy="3362325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Will </a:t>
            </a:r>
            <a:r>
              <a:rPr lang="en-US" sz="1800" b="1" noProof="0" dirty="0" smtClean="0"/>
              <a:t>never</a:t>
            </a:r>
            <a:r>
              <a:rPr lang="en-US" sz="1800" noProof="0" dirty="0" smtClean="0"/>
              <a:t> be larger </a:t>
            </a:r>
            <a:r>
              <a:rPr lang="en-US" sz="1800" b="1" noProof="0" dirty="0" smtClean="0"/>
              <a:t>than one</a:t>
            </a:r>
            <a:r>
              <a:rPr lang="en-US" sz="1800" noProof="0" dirty="0" smtClean="0"/>
              <a:t>.</a:t>
            </a:r>
          </a:p>
          <a:p>
            <a:r>
              <a:rPr lang="en-US" sz="1800" noProof="0" dirty="0" smtClean="0"/>
              <a:t>Option represents the presence or </a:t>
            </a:r>
            <a:r>
              <a:rPr lang="en-US" sz="1800" b="1" noProof="0" dirty="0" smtClean="0"/>
              <a:t>absence of a single value</a:t>
            </a:r>
          </a:p>
          <a:p>
            <a:r>
              <a:rPr lang="en-US" sz="1800" noProof="0" dirty="0" smtClean="0"/>
              <a:t>Safe </a:t>
            </a:r>
            <a:r>
              <a:rPr lang="en-US" sz="1800" b="1" noProof="0" dirty="0" smtClean="0"/>
              <a:t>replacement</a:t>
            </a:r>
            <a:r>
              <a:rPr lang="en-US" sz="1800" noProof="0" dirty="0" smtClean="0"/>
              <a:t> for </a:t>
            </a:r>
            <a:r>
              <a:rPr lang="en-US" sz="1800" b="1" noProof="0" dirty="0" smtClean="0"/>
              <a:t>null values</a:t>
            </a:r>
          </a:p>
          <a:p>
            <a:r>
              <a:rPr lang="en-US" sz="1800" b="1" noProof="0" dirty="0" smtClean="0"/>
              <a:t>Safe</a:t>
            </a:r>
            <a:r>
              <a:rPr lang="en-US" sz="1800" noProof="0" dirty="0" smtClean="0"/>
              <a:t> way to build chains of operations with only valid values</a:t>
            </a:r>
          </a:p>
          <a:p>
            <a:r>
              <a:rPr lang="en-US" sz="1800" b="1" noProof="0" dirty="0" smtClean="0"/>
              <a:t>Option</a:t>
            </a:r>
            <a:r>
              <a:rPr lang="en-US" sz="1800" noProof="0" dirty="0" smtClean="0"/>
              <a:t> has two subtypes:</a:t>
            </a:r>
          </a:p>
          <a:p>
            <a:pPr lvl="1"/>
            <a:r>
              <a:rPr lang="en-US" sz="1800" b="1" noProof="0" dirty="0" smtClean="0"/>
              <a:t>Some</a:t>
            </a:r>
            <a:r>
              <a:rPr lang="en-US" sz="1800" noProof="0" dirty="0" smtClean="0"/>
              <a:t>: Type-parametrized collection of one element</a:t>
            </a:r>
          </a:p>
          <a:p>
            <a:pPr lvl="1"/>
            <a:r>
              <a:rPr lang="en-US" sz="1800" b="1" noProof="0" dirty="0" smtClean="0"/>
              <a:t>None</a:t>
            </a:r>
            <a:r>
              <a:rPr lang="en-US" sz="1800" noProof="0" dirty="0" smtClean="0"/>
              <a:t>: Empty collec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gray">
          <a:xfrm>
            <a:off x="4430806" y="877419"/>
            <a:ext cx="4491317" cy="38791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: String = "Indeed"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String = Indeed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 = Option(x)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: Option[String] = Some(Indeed)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x = null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String = null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 = Option(x)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b: Option[String] = None</a:t>
            </a:r>
          </a:p>
          <a:p>
            <a:pPr marL="0" lvl="1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//checks if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ome a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is defined?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a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s? ${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.isDefine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")  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 is? true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b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s not? ${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.isEmpty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") //checks if is None</a:t>
            </a:r>
          </a:p>
          <a:p>
            <a:pPr marL="0" lvl="1" indent="0"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b is not ? true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72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Option Collections (2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6" y="850246"/>
            <a:ext cx="8525481" cy="3362325"/>
          </a:xfrm>
        </p:spPr>
        <p:txBody>
          <a:bodyPr>
            <a:normAutofit/>
          </a:bodyPr>
          <a:lstStyle/>
          <a:p>
            <a:r>
              <a:rPr lang="en-US" sz="2400" noProof="0" dirty="0" smtClean="0"/>
              <a:t>Prevent division by zero</a:t>
            </a:r>
          </a:p>
          <a:p>
            <a:pPr marL="0" indent="0">
              <a:buNone/>
            </a:pPr>
            <a:endParaRPr lang="en-US" sz="2400" noProof="0" dirty="0" smtClean="0"/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divide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m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Double, divisor: Double): Option[Double] = {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ivisor == 0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one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else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Option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m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/ divisor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ivide: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m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Double, divisor: Double)Option[Double]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egit = divide(5, 2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egit: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Option[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ouble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ome(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.5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180975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llegi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divide(3, 0)</a:t>
            </a:r>
          </a:p>
          <a:p>
            <a:pPr marL="180975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llegi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Option[Double] = Non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600154" y="3640634"/>
            <a:ext cx="1512168" cy="108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3748645"/>
            <a:ext cx="2229470" cy="8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67622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Option Collections (2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50246"/>
            <a:ext cx="8243888" cy="1402136"/>
          </a:xfrm>
        </p:spPr>
        <p:txBody>
          <a:bodyPr>
            <a:noAutofit/>
          </a:bodyPr>
          <a:lstStyle/>
          <a:p>
            <a:r>
              <a:rPr lang="en-US" sz="2400" noProof="0" dirty="0" smtClean="0">
                <a:cs typeface="ＭＳ Ｐゴシック" charset="0"/>
              </a:rPr>
              <a:t>Extracting values from Options:</a:t>
            </a:r>
          </a:p>
          <a:p>
            <a:pPr marL="742950" lvl="2" indent="-342900"/>
            <a:r>
              <a:rPr lang="en-US" sz="1800" b="1" noProof="0" dirty="0" err="1" smtClean="0"/>
              <a:t>Option.get</a:t>
            </a:r>
            <a:r>
              <a:rPr lang="en-US" sz="1800" b="1" noProof="0" dirty="0" smtClean="0"/>
              <a:t>()</a:t>
            </a:r>
            <a:r>
              <a:rPr lang="en-US" sz="1800" noProof="0" dirty="0" smtClean="0"/>
              <a:t>: Avoid it If you call get on an None instance “no such element” error will be trigger</a:t>
            </a:r>
          </a:p>
          <a:p>
            <a:pPr marL="180975" indent="-180975"/>
            <a:r>
              <a:rPr lang="en-US" sz="2400" noProof="0" dirty="0" smtClean="0"/>
              <a:t>Safe Option extractions:</a:t>
            </a:r>
          </a:p>
          <a:p>
            <a:pPr marL="742950" lvl="2" indent="-342900"/>
            <a:endParaRPr lang="en-US" sz="1800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5943" y="2171432"/>
            <a:ext cx="6563719" cy="2595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5600154" y="3640634"/>
            <a:ext cx="1512168" cy="108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3748645"/>
            <a:ext cx="2229470" cy="8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267233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Try Collections (1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77140"/>
            <a:ext cx="8243888" cy="1597120"/>
          </a:xfrm>
        </p:spPr>
        <p:txBody>
          <a:bodyPr>
            <a:noAutofit/>
          </a:bodyPr>
          <a:lstStyle/>
          <a:p>
            <a:r>
              <a:rPr lang="en-US" sz="1600" noProof="0" dirty="0" smtClean="0"/>
              <a:t>The </a:t>
            </a:r>
            <a:r>
              <a:rPr lang="en-US" sz="1600" b="1" noProof="0" dirty="0" err="1" smtClean="0"/>
              <a:t>util.Try</a:t>
            </a:r>
            <a:r>
              <a:rPr lang="en-US" sz="1600" noProof="0" dirty="0" smtClean="0"/>
              <a:t> collection turns error handling into collection management.</a:t>
            </a:r>
          </a:p>
          <a:p>
            <a:r>
              <a:rPr lang="en-US" sz="1600" noProof="0" dirty="0" smtClean="0"/>
              <a:t>It provides a mechanism to catch errors that occur in a given function parameter, returning either the error or the result of the function if successful.</a:t>
            </a:r>
          </a:p>
          <a:p>
            <a:r>
              <a:rPr lang="en-US" sz="1600" noProof="0" dirty="0" smtClean="0"/>
              <a:t>Scala supports try {} .. catch {} blocks but </a:t>
            </a:r>
            <a:r>
              <a:rPr lang="en-US" sz="1600" noProof="0" dirty="0" err="1" smtClean="0"/>
              <a:t>util.Try</a:t>
            </a:r>
            <a:r>
              <a:rPr lang="en-US" sz="1600" noProof="0" dirty="0" smtClean="0"/>
              <a:t> () is the functional way.</a:t>
            </a:r>
          </a:p>
          <a:p>
            <a:r>
              <a:rPr lang="en-US" sz="1600" noProof="0" dirty="0" smtClean="0"/>
              <a:t>To throw an exception:</a:t>
            </a:r>
          </a:p>
          <a:p>
            <a:pPr marL="0" indent="0">
              <a:buNone/>
            </a:pPr>
            <a:endParaRPr lang="en-US" sz="1100" noProof="0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gray">
          <a:xfrm>
            <a:off x="2971801" y="2198601"/>
            <a:ext cx="5957842" cy="26087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opAndFai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end: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ilA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: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{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or 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&lt;- 1 to end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"$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")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f 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ailAt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hrow new Exception("Too many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t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end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opAndFai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10, 3)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)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)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3)</a:t>
            </a:r>
          </a:p>
          <a:p>
            <a:pPr marL="0" lvl="2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lang.Excep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Too many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ter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34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Try Collections (2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219" y="944376"/>
            <a:ext cx="8720416" cy="3362325"/>
          </a:xfrm>
        </p:spPr>
        <p:txBody>
          <a:bodyPr>
            <a:noAutofit/>
          </a:bodyPr>
          <a:lstStyle/>
          <a:p>
            <a:pPr marL="180975" indent="-180975"/>
            <a:r>
              <a:rPr lang="en-US" sz="1800" b="1" noProof="0" dirty="0" err="1" smtClean="0">
                <a:cs typeface="ＭＳ Ｐゴシック" charset="0"/>
              </a:rPr>
              <a:t>Util.Try</a:t>
            </a:r>
            <a:r>
              <a:rPr lang="en-US" sz="1800" noProof="0" dirty="0" smtClean="0">
                <a:cs typeface="ＭＳ Ｐゴシック" charset="0"/>
              </a:rPr>
              <a:t> is unimplemented but has </a:t>
            </a:r>
            <a:r>
              <a:rPr lang="en-US" sz="1800" b="1" noProof="0" dirty="0" smtClean="0">
                <a:cs typeface="ＭＳ Ｐゴシック" charset="0"/>
              </a:rPr>
              <a:t>two implemented subtypes</a:t>
            </a:r>
          </a:p>
          <a:p>
            <a:pPr marL="180975" lvl="1"/>
            <a:r>
              <a:rPr lang="en-US" sz="1800" b="1" noProof="0" dirty="0" smtClean="0"/>
              <a:t>Success type </a:t>
            </a:r>
            <a:r>
              <a:rPr lang="en-US" sz="1800" noProof="0" dirty="0" smtClean="0"/>
              <a:t>contains the return value of the attempted expression if no exception was thrown</a:t>
            </a:r>
          </a:p>
          <a:p>
            <a:pPr marL="180975" lvl="1"/>
            <a:r>
              <a:rPr lang="en-US" sz="1800" b="1" noProof="0" dirty="0" smtClean="0"/>
              <a:t>Failure type </a:t>
            </a:r>
            <a:r>
              <a:rPr lang="en-US" sz="1800" noProof="0" dirty="0" smtClean="0"/>
              <a:t>contains the thrown Exception</a:t>
            </a:r>
          </a:p>
          <a:p>
            <a:pPr marL="0" lvl="1" indent="0">
              <a:buNone/>
            </a:pPr>
            <a:endParaRPr lang="en-US" sz="1800" noProof="0" dirty="0" smtClean="0"/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1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opAndFai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, 3) )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)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)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1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Success(2)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2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oopAndFai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4, 2) }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)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)</a:t>
            </a:r>
          </a:p>
          <a:p>
            <a:pPr marL="268287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2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Failure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lang.Exceptio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Too many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ter</a:t>
            </a:r>
            <a:r>
              <a:rPr lang="en-US" sz="1600" noProof="0" dirty="0" smtClean="0"/>
              <a:t>)</a:t>
            </a:r>
            <a:endParaRPr lang="en-US" sz="16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84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ry Collections – Handling Error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1223682"/>
            <a:ext cx="8404458" cy="305248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xtErro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 1 /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next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2) }</a:t>
            </a:r>
          </a:p>
          <a:p>
            <a:pPr marL="0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xtErro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pPr marL="0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xtError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Failure(</a:t>
            </a:r>
          </a:p>
          <a:p>
            <a:pPr marL="0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java.lang.ArithmeticExceptio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/ by zero)</a:t>
            </a:r>
          </a:p>
          <a:p>
            <a:pPr marL="0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y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xtError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y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Success(1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46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ry Collections – Other Exampl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40441"/>
            <a:ext cx="8222922" cy="3879477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input = " 123 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nput: String = " 123 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sult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to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Else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put.trim.to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sult: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util.Try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Success(123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result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each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 r =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Parsed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'$input' to $r!")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arsed ' 123 ' to 123!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x = result match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case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Succes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) =&gt; Some(x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case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Failur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ex) =&gt;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Couldn'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arse input '$input'"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N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x: Option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Some(123)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85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Try Collections – Tab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6752" y="880342"/>
            <a:ext cx="4471147" cy="2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6753" y="1091567"/>
            <a:ext cx="4545106" cy="3669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4008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18008"/>
          </a:xfrm>
        </p:spPr>
        <p:txBody>
          <a:bodyPr/>
          <a:lstStyle/>
          <a:p>
            <a:r>
              <a:rPr lang="en-US" noProof="0" dirty="0" smtClean="0"/>
              <a:t>Future Collections (1/2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0783"/>
            <a:ext cx="8243888" cy="3852582"/>
          </a:xfrm>
        </p:spPr>
        <p:txBody>
          <a:bodyPr>
            <a:normAutofit/>
          </a:bodyPr>
          <a:lstStyle/>
          <a:p>
            <a:r>
              <a:rPr lang="en-US" noProof="0" dirty="0" err="1" smtClean="0"/>
              <a:t>Concurrent.Future</a:t>
            </a:r>
            <a:r>
              <a:rPr lang="en-US" noProof="0" dirty="0" smtClean="0"/>
              <a:t> </a:t>
            </a:r>
            <a:r>
              <a:rPr lang="en-US" b="1" noProof="0" dirty="0" smtClean="0"/>
              <a:t>Initiates a background task</a:t>
            </a:r>
          </a:p>
          <a:p>
            <a:r>
              <a:rPr lang="en-US" noProof="0" dirty="0" smtClean="0"/>
              <a:t>Like Option &amp; Try </a:t>
            </a:r>
            <a:r>
              <a:rPr lang="en-US" b="1" noProof="0" dirty="0" smtClean="0"/>
              <a:t>safe way to chain </a:t>
            </a:r>
            <a:r>
              <a:rPr lang="en-US" noProof="0" dirty="0" smtClean="0"/>
              <a:t>additional operations or extract value</a:t>
            </a:r>
          </a:p>
          <a:p>
            <a:r>
              <a:rPr lang="en-US" noProof="0" dirty="0" smtClean="0"/>
              <a:t>But may </a:t>
            </a:r>
            <a:r>
              <a:rPr lang="en-US" b="1" noProof="0" dirty="0" smtClean="0"/>
              <a:t>be not immediately available</a:t>
            </a:r>
            <a:r>
              <a:rPr lang="en-US" noProof="0" dirty="0" smtClean="0"/>
              <a:t>. The background task launched could still be working</a:t>
            </a:r>
          </a:p>
          <a:p>
            <a:r>
              <a:rPr lang="en-US" noProof="0" dirty="0" smtClean="0"/>
              <a:t>It is necessary </a:t>
            </a:r>
            <a:r>
              <a:rPr lang="en-US" b="1" noProof="0" dirty="0" smtClean="0"/>
              <a:t>to specify the “context” </a:t>
            </a:r>
            <a:r>
              <a:rPr lang="en-US" noProof="0" dirty="0" smtClean="0"/>
              <a:t>in the current session or application for running functions concurrently. We’ll use the default “global” context, which makes use of Java’s thread library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current.Futur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read.sleep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5000)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hi") }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: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ncurrent.Future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Unit] =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ncurrent.impl.Promise$DefaultPromise@4aa3d36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waiting")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waiting</a:t>
            </a:r>
          </a:p>
          <a:p>
            <a:pPr marL="400050" lvl="1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hi</a:t>
            </a:r>
          </a:p>
          <a:p>
            <a:r>
              <a:rPr lang="en-US" noProof="0" dirty="0" smtClean="0"/>
              <a:t>You can </a:t>
            </a:r>
            <a:r>
              <a:rPr lang="en-US" b="1" noProof="0" dirty="0" smtClean="0"/>
              <a:t>chain a function or another future </a:t>
            </a:r>
            <a:r>
              <a:rPr lang="en-US" noProof="0" dirty="0" smtClean="0"/>
              <a:t>to be executed following the completion of a future and eventually will return </a:t>
            </a:r>
            <a:r>
              <a:rPr lang="en-US" noProof="0" dirty="0" err="1" smtClean="0"/>
              <a:t>util.Try</a:t>
            </a:r>
            <a:r>
              <a:rPr lang="en-US" noProof="0" dirty="0" smtClean="0"/>
              <a:t> with the result or an exception</a:t>
            </a:r>
          </a:p>
          <a:p>
            <a:r>
              <a:rPr lang="en-US" b="1" noProof="0" dirty="0" smtClean="0"/>
              <a:t>BETTER USE AKKA FRAMEWORK</a:t>
            </a:r>
            <a:endParaRPr lang="en-US" b="1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65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Future Collections (2/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0519"/>
            <a:ext cx="6627583" cy="3362325"/>
          </a:xfrm>
        </p:spPr>
        <p:txBody>
          <a:bodyPr>
            <a:normAutofit/>
          </a:bodyPr>
          <a:lstStyle/>
          <a:p>
            <a:r>
              <a:rPr lang="en-US" sz="1800" noProof="0" dirty="0" smtClean="0"/>
              <a:t>Operations for chaining futures and setting callback functions.</a:t>
            </a: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import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current.ExecutionContext.Implicits.global</a:t>
            </a:r>
            <a:endParaRPr lang="en-US" sz="11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current.ExecutionContext.Implicits.global</a:t>
            </a:r>
            <a:endParaRPr lang="en-US" sz="11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import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current.Future</a:t>
            </a:r>
            <a:endParaRPr lang="en-US" sz="11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ncurrent.Future</a:t>
            </a:r>
            <a:endParaRPr lang="en-US" sz="11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xtFtr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0) = Future {</a:t>
            </a: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and(x: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=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til.Random.nextInt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x)</a:t>
            </a: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</a:t>
            </a: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read.sleep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rand(5000))</a:t>
            </a: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if (rand(3) &gt; 0) (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+ 1) else throw new Exception</a:t>
            </a:r>
          </a:p>
          <a:p>
            <a:pPr marL="0" indent="0">
              <a:buNone/>
            </a:pP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indent="0">
              <a:buNone/>
            </a:pP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xtFtr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(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ala.concurrent.Future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1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1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US" sz="11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845" y="1768288"/>
            <a:ext cx="4613435" cy="793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0486" y="2634848"/>
            <a:ext cx="4612794" cy="1641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627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Type Inferenc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1004887"/>
            <a:ext cx="8243888" cy="3362325"/>
          </a:xfrm>
        </p:spPr>
        <p:txBody>
          <a:bodyPr>
            <a:normAutofit/>
          </a:bodyPr>
          <a:lstStyle/>
          <a:p>
            <a:r>
              <a:rPr lang="en-US" sz="3600" noProof="0" dirty="0" smtClean="0"/>
              <a:t>Implicit types</a:t>
            </a:r>
          </a:p>
          <a:p>
            <a:pPr lvl="1"/>
            <a:r>
              <a:rPr lang="en-US" sz="2000" b="1" noProof="0" dirty="0" err="1" smtClean="0"/>
              <a:t>val</a:t>
            </a:r>
            <a:r>
              <a:rPr lang="en-US" sz="2000" noProof="0" dirty="0" smtClean="0"/>
              <a:t> sum = 1 + 2 + 3</a:t>
            </a:r>
          </a:p>
          <a:p>
            <a:pPr lvl="1"/>
            <a:r>
              <a:rPr lang="en-US" sz="2000" b="1" noProof="0" dirty="0" err="1" smtClean="0"/>
              <a:t>val</a:t>
            </a:r>
            <a:r>
              <a:rPr lang="en-US" sz="2000" noProof="0" dirty="0" smtClean="0"/>
              <a:t> </a:t>
            </a:r>
            <a:r>
              <a:rPr lang="en-US" sz="2000" noProof="0" dirty="0" err="1" smtClean="0"/>
              <a:t>nums</a:t>
            </a:r>
            <a:r>
              <a:rPr lang="en-US" sz="2000" noProof="0" dirty="0" smtClean="0"/>
              <a:t> = List(1, 2, 3)</a:t>
            </a:r>
          </a:p>
          <a:p>
            <a:pPr lvl="1"/>
            <a:r>
              <a:rPr lang="en-US" sz="2000" b="1" noProof="0" dirty="0" err="1" smtClean="0"/>
              <a:t>val</a:t>
            </a:r>
            <a:r>
              <a:rPr lang="en-US" sz="2000" noProof="0" dirty="0" smtClean="0"/>
              <a:t> map = Map("</a:t>
            </a:r>
            <a:r>
              <a:rPr lang="en-US" sz="2000" noProof="0" dirty="0" err="1" smtClean="0"/>
              <a:t>abc</a:t>
            </a:r>
            <a:r>
              <a:rPr lang="en-US" sz="2000" noProof="0" dirty="0" smtClean="0"/>
              <a:t>" -&gt; List(1,2,3))</a:t>
            </a:r>
            <a:endParaRPr lang="en-US" sz="20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3600" noProof="0" dirty="0" smtClean="0"/>
              <a:t>Explicit types</a:t>
            </a:r>
          </a:p>
          <a:p>
            <a:pPr lvl="1"/>
            <a:r>
              <a:rPr lang="en-US" sz="2000" b="1" noProof="0" dirty="0" err="1" smtClean="0"/>
              <a:t>val</a:t>
            </a:r>
            <a:r>
              <a:rPr lang="en-US" sz="2000" noProof="0" dirty="0" smtClean="0"/>
              <a:t> sum</a:t>
            </a:r>
            <a:r>
              <a:rPr lang="en-US" sz="2000" b="1" noProof="0" dirty="0" smtClean="0"/>
              <a:t>:</a:t>
            </a:r>
            <a:r>
              <a:rPr lang="en-US" sz="2000" noProof="0" dirty="0" smtClean="0"/>
              <a:t> </a:t>
            </a:r>
            <a:r>
              <a:rPr lang="en-US" sz="2000" b="1" noProof="0" dirty="0" err="1" smtClean="0"/>
              <a:t>Int</a:t>
            </a:r>
            <a:r>
              <a:rPr lang="en-US" sz="2000" noProof="0" dirty="0" smtClean="0"/>
              <a:t> = 1 + 2 + 3</a:t>
            </a:r>
          </a:p>
          <a:p>
            <a:pPr lvl="1"/>
            <a:r>
              <a:rPr lang="en-US" sz="2000" b="1" noProof="0" dirty="0" err="1" smtClean="0"/>
              <a:t>val</a:t>
            </a:r>
            <a:r>
              <a:rPr lang="en-US" sz="2000" noProof="0" dirty="0" smtClean="0"/>
              <a:t> </a:t>
            </a:r>
            <a:r>
              <a:rPr lang="en-US" sz="2000" noProof="0" dirty="0" err="1" smtClean="0"/>
              <a:t>nums</a:t>
            </a:r>
            <a:r>
              <a:rPr lang="en-US" sz="2000" b="1" noProof="0" dirty="0" smtClean="0"/>
              <a:t>:</a:t>
            </a:r>
            <a:r>
              <a:rPr lang="en-US" sz="2000" noProof="0" dirty="0" smtClean="0"/>
              <a:t> </a:t>
            </a:r>
            <a:r>
              <a:rPr lang="en-US" sz="2000" b="1" noProof="0" dirty="0" smtClean="0"/>
              <a:t>List[</a:t>
            </a:r>
            <a:r>
              <a:rPr lang="en-US" sz="2000" b="1" noProof="0" dirty="0" err="1" smtClean="0"/>
              <a:t>Int</a:t>
            </a:r>
            <a:r>
              <a:rPr lang="en-US" sz="2000" b="1" noProof="0" dirty="0" smtClean="0"/>
              <a:t>]</a:t>
            </a:r>
            <a:r>
              <a:rPr lang="en-US" sz="2000" noProof="0" dirty="0" smtClean="0"/>
              <a:t> = List(1, 2, 3)</a:t>
            </a:r>
          </a:p>
          <a:p>
            <a:pPr lvl="1"/>
            <a:r>
              <a:rPr lang="en-US" sz="2000" b="1" noProof="0" dirty="0" err="1" smtClean="0"/>
              <a:t>val</a:t>
            </a:r>
            <a:r>
              <a:rPr lang="en-US" sz="2000" noProof="0" dirty="0" smtClean="0"/>
              <a:t> map</a:t>
            </a:r>
            <a:r>
              <a:rPr lang="en-US" sz="2000" b="1" noProof="0" dirty="0" smtClean="0"/>
              <a:t>:</a:t>
            </a:r>
            <a:r>
              <a:rPr lang="en-US" sz="2000" noProof="0" dirty="0" smtClean="0"/>
              <a:t> </a:t>
            </a:r>
            <a:r>
              <a:rPr lang="en-US" sz="2000" b="1" noProof="0" dirty="0" smtClean="0"/>
              <a:t>Map[String, List[</a:t>
            </a:r>
            <a:r>
              <a:rPr lang="en-US" sz="2000" b="1" noProof="0" dirty="0" err="1" smtClean="0"/>
              <a:t>Int</a:t>
            </a:r>
            <a:r>
              <a:rPr lang="en-US" sz="2000" b="1" noProof="0" dirty="0" smtClean="0"/>
              <a:t>]]</a:t>
            </a:r>
            <a:r>
              <a:rPr lang="en-US" sz="2000" noProof="0" dirty="0" smtClean="0"/>
              <a:t> = ...</a:t>
            </a:r>
          </a:p>
          <a:p>
            <a:endParaRPr lang="en-US" sz="20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917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Future Collections (3/3)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236" y="806822"/>
            <a:ext cx="6830941" cy="1250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213" y="2080679"/>
            <a:ext cx="6674648" cy="248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711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707" y="458140"/>
            <a:ext cx="6692104" cy="245260"/>
          </a:xfrm>
        </p:spPr>
        <p:txBody>
          <a:bodyPr/>
          <a:lstStyle/>
          <a:p>
            <a:r>
              <a:rPr lang="en-US" noProof="0" dirty="0" smtClean="0"/>
              <a:t>Exerci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1119188"/>
            <a:ext cx="6004158" cy="353266"/>
          </a:xfrm>
        </p:spPr>
        <p:txBody>
          <a:bodyPr>
            <a:noAutofit/>
          </a:bodyPr>
          <a:lstStyle/>
          <a:p>
            <a:r>
              <a:rPr lang="en-US" sz="2800" b="1" noProof="0" dirty="0" smtClean="0"/>
              <a:t>Exercise 7 – More Collection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97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Introduction to scala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942975" y="1941508"/>
            <a:ext cx="5265737" cy="615553"/>
          </a:xfrm>
        </p:spPr>
        <p:txBody>
          <a:bodyPr/>
          <a:lstStyle/>
          <a:p>
            <a:r>
              <a:rPr lang="en-US" dirty="0" smtClean="0"/>
              <a:t>9. Classes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53" y="4113394"/>
            <a:ext cx="3379968" cy="9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42616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OOScala</a:t>
            </a:r>
            <a:r>
              <a:rPr lang="en-US" noProof="0" dirty="0" smtClean="0"/>
              <a:t> - Clas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72527"/>
            <a:ext cx="8243888" cy="3753261"/>
          </a:xfrm>
        </p:spPr>
        <p:txBody>
          <a:bodyPr>
            <a:normAutofit fontScale="40000" lnSpcReduction="20000"/>
          </a:bodyPr>
          <a:lstStyle/>
          <a:p>
            <a:r>
              <a:rPr lang="en-US" sz="5600" i="1" noProof="0" dirty="0" smtClean="0"/>
              <a:t>Classes </a:t>
            </a:r>
            <a:r>
              <a:rPr lang="en-US" sz="5600" noProof="0" dirty="0" smtClean="0"/>
              <a:t>are the core building block of object-oriented languages, a combination of data structures with functions (“methods”)</a:t>
            </a:r>
          </a:p>
          <a:p>
            <a:pPr marL="0" indent="0">
              <a:buNone/>
            </a:pPr>
            <a:endParaRPr lang="en-US" sz="5600" noProof="0" dirty="0" smtClean="0"/>
          </a:p>
          <a:p>
            <a:pPr marL="0" indent="0">
              <a:buNone/>
            </a:pPr>
            <a:endParaRPr lang="en-US" sz="5600" noProof="0" dirty="0" smtClean="0"/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User(n: String) { </a:t>
            </a:r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ame: String = n</a:t>
            </a:r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reet: String = 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Hello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rom $name"</a:t>
            </a:r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override 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User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$name)"</a:t>
            </a:r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User</a:t>
            </a:r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u = new User("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Zeniba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</a:t>
            </a:r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u: User = User(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Zeniba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.greet</a:t>
            </a: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400050" lvl="1" indent="0">
              <a:buNone/>
            </a:pPr>
            <a:r>
              <a:rPr lang="en-US" sz="44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ello from </a:t>
            </a:r>
            <a:r>
              <a:rPr lang="en-US" sz="44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Zeniba</a:t>
            </a:r>
            <a:endParaRPr lang="en-US" sz="44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5600" noProof="0" dirty="0" smtClean="0"/>
          </a:p>
          <a:p>
            <a:pPr marL="400050" lvl="1" indent="0">
              <a:buNone/>
            </a:pP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endParaRPr lang="en-US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7273931" y="3197039"/>
            <a:ext cx="1307624" cy="447395"/>
          </a:xfrm>
          <a:prstGeom prst="wedgeRoundRectCallout">
            <a:avLst>
              <a:gd name="adj1" fmla="val -111085"/>
              <a:gd name="adj2" fmla="val -90861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US" sz="1200" dirty="0" smtClean="0">
                <a:solidFill>
                  <a:srgbClr val="213E7F"/>
                </a:solidFill>
              </a:rPr>
              <a:t>Override default JVM </a:t>
            </a:r>
            <a:r>
              <a:rPr lang="en-US" sz="1200" dirty="0" err="1" smtClean="0">
                <a:solidFill>
                  <a:srgbClr val="213E7F"/>
                </a:solidFill>
              </a:rPr>
              <a:t>toString</a:t>
            </a:r>
            <a:endParaRPr lang="en-US" sz="1200" dirty="0">
              <a:solidFill>
                <a:srgbClr val="213E7F"/>
              </a:solidFill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200493" y="1488703"/>
            <a:ext cx="1138741" cy="375678"/>
          </a:xfrm>
          <a:prstGeom prst="wedgeRoundRectCallout">
            <a:avLst>
              <a:gd name="adj1" fmla="val -1554"/>
              <a:gd name="adj2" fmla="val 173771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US" sz="1200" dirty="0" smtClean="0">
                <a:solidFill>
                  <a:srgbClr val="213E7F"/>
                </a:solidFill>
              </a:rPr>
              <a:t>Field of a class</a:t>
            </a:r>
            <a:endParaRPr lang="en-US" sz="1200" dirty="0">
              <a:solidFill>
                <a:srgbClr val="213E7F"/>
              </a:solidFill>
            </a:endParaRPr>
          </a:p>
        </p:txBody>
      </p:sp>
      <p:sp>
        <p:nvSpPr>
          <p:cNvPr id="13" name="Rounded Rectangular Callout 12"/>
          <p:cNvSpPr/>
          <p:nvPr/>
        </p:nvSpPr>
        <p:spPr>
          <a:xfrm>
            <a:off x="7379971" y="2324942"/>
            <a:ext cx="1351570" cy="375678"/>
          </a:xfrm>
          <a:prstGeom prst="wedgeRoundRectCallout">
            <a:avLst>
              <a:gd name="adj1" fmla="val -110115"/>
              <a:gd name="adj2" fmla="val 44912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en-US" sz="1200" dirty="0" smtClean="0">
                <a:solidFill>
                  <a:schemeClr val="tx1"/>
                </a:solidFill>
              </a:rPr>
              <a:t>Method of a clas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ounded Rectangular Callout 13"/>
          <p:cNvSpPr/>
          <p:nvPr/>
        </p:nvSpPr>
        <p:spPr>
          <a:xfrm>
            <a:off x="6620119" y="1497527"/>
            <a:ext cx="1992724" cy="678656"/>
          </a:xfrm>
          <a:prstGeom prst="wedgeRoundRectCallout">
            <a:avLst>
              <a:gd name="adj1" fmla="val -127824"/>
              <a:gd name="adj2" fmla="val -5200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US" sz="1200" dirty="0" smtClean="0">
                <a:solidFill>
                  <a:srgbClr val="213E7F"/>
                </a:solidFill>
              </a:rPr>
              <a:t>n parameter class just for initialization fields, not can be used in methods</a:t>
            </a:r>
            <a:endParaRPr lang="en-US" sz="1200" dirty="0">
              <a:solidFill>
                <a:srgbClr val="213E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1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OOScala</a:t>
            </a:r>
            <a:r>
              <a:rPr lang="en-US" noProof="0" dirty="0" smtClean="0"/>
              <a:t> - Classes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5974" y="919491"/>
            <a:ext cx="8243888" cy="3796347"/>
          </a:xfrm>
        </p:spPr>
        <p:txBody>
          <a:bodyPr>
            <a:noAutofit/>
          </a:bodyPr>
          <a:lstStyle/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User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name: String) {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reet: String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Hello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from $name"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override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Use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$name)"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User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users = List(new User("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to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, new User("Art3mis"),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new User("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esch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users: List[User] = List(User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to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, User(Art3mis), User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esch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izes = users map (_.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ame.siz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izes: List[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] = List(8, 7, 5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hird = users find (_.name contains "3"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hird: Option[User] = Some(User(Art3mis)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reet = third map (_.greet)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OrEls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"hi"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greet: String = Hello from Art3mi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6276847" y="934571"/>
            <a:ext cx="2416305" cy="791135"/>
          </a:xfrm>
          <a:prstGeom prst="wedgeRoundRectCallout">
            <a:avLst>
              <a:gd name="adj1" fmla="val -104185"/>
              <a:gd name="adj2" fmla="val -31489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GB" sz="1400" dirty="0">
                <a:solidFill>
                  <a:srgbClr val="213E7F"/>
                </a:solidFill>
              </a:rPr>
              <a:t>By adding the keywords </a:t>
            </a:r>
            <a:r>
              <a:rPr lang="en-GB" sz="1400" b="1" dirty="0" err="1">
                <a:solidFill>
                  <a:srgbClr val="213E7F"/>
                </a:solidFill>
              </a:rPr>
              <a:t>val</a:t>
            </a:r>
            <a:r>
              <a:rPr lang="en-GB" sz="1400" dirty="0">
                <a:solidFill>
                  <a:srgbClr val="213E7F"/>
                </a:solidFill>
              </a:rPr>
              <a:t> or </a:t>
            </a:r>
            <a:r>
              <a:rPr lang="en-GB" sz="1400" b="1" dirty="0" err="1">
                <a:solidFill>
                  <a:srgbClr val="213E7F"/>
                </a:solidFill>
              </a:rPr>
              <a:t>var</a:t>
            </a:r>
            <a:r>
              <a:rPr lang="en-GB" sz="1400" dirty="0">
                <a:solidFill>
                  <a:srgbClr val="213E7F"/>
                </a:solidFill>
              </a:rPr>
              <a:t> before a class </a:t>
            </a:r>
            <a:r>
              <a:rPr lang="en-GB" sz="1400" b="1" dirty="0" err="1">
                <a:solidFill>
                  <a:srgbClr val="213E7F"/>
                </a:solidFill>
              </a:rPr>
              <a:t>param</a:t>
            </a:r>
            <a:r>
              <a:rPr lang="en-GB" sz="1400" dirty="0">
                <a:solidFill>
                  <a:srgbClr val="213E7F"/>
                </a:solidFill>
              </a:rPr>
              <a:t> becomes a field in the class</a:t>
            </a:r>
          </a:p>
        </p:txBody>
      </p:sp>
    </p:spTree>
    <p:extLst>
      <p:ext uri="{BB962C8B-B14F-4D97-AF65-F5344CB8AC3E}">
        <p14:creationId xmlns:p14="http://schemas.microsoft.com/office/powerpoint/2010/main" val="290221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Classes Inheritance &amp; Polymorphism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80783"/>
            <a:ext cx="8243888" cy="3845858"/>
          </a:xfrm>
        </p:spPr>
        <p:txBody>
          <a:bodyPr>
            <a:normAutofit fontScale="92500" lnSpcReduction="10000"/>
          </a:bodyPr>
          <a:lstStyle/>
          <a:p>
            <a:r>
              <a:rPr lang="en-US" sz="2400" b="1" noProof="0" dirty="0" smtClean="0"/>
              <a:t>Inheritance</a:t>
            </a:r>
            <a:r>
              <a:rPr lang="en-US" sz="2400" dirty="0" smtClean="0"/>
              <a:t>: </a:t>
            </a:r>
            <a:r>
              <a:rPr lang="en-US" sz="2400" noProof="0" dirty="0" smtClean="0"/>
              <a:t>Like in Java we have extends, this &amp; super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A {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i = "Hello from A"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override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Class.getName</a:t>
            </a:r>
            <a:endParaRPr lang="en-US" sz="16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A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B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extend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B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extends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 { </a:t>
            </a:r>
            <a:r>
              <a:rPr lang="en-US" sz="1600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overrid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hi = "hi C -&gt; " + </a:t>
            </a:r>
            <a:r>
              <a:rPr lang="en-US" sz="1600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uper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.hi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A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new A().hi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A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 = Hello from A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B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new B().hi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B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 = Hello from A</a:t>
            </a:r>
          </a:p>
          <a:p>
            <a:pPr marL="40005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C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new C().hi</a:t>
            </a:r>
          </a:p>
          <a:p>
            <a:pPr marL="400050" lvl="1" indent="0">
              <a:buNone/>
            </a:pP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iC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String = hi C -&gt; Hello from A</a:t>
            </a:r>
            <a:endParaRPr lang="en-US" sz="1600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931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Classes Inheritance &amp; Polymorphism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707" y="860612"/>
            <a:ext cx="7227840" cy="3906369"/>
          </a:xfrm>
        </p:spPr>
        <p:txBody>
          <a:bodyPr>
            <a:normAutofit lnSpcReduction="10000"/>
          </a:bodyPr>
          <a:lstStyle/>
          <a:p>
            <a:r>
              <a:rPr lang="en-US" sz="1800" noProof="0" dirty="0" smtClean="0"/>
              <a:t>Polymorphism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: A = new A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: A = A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: A = new B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: A = B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: B = new A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lt;console&gt;:9: error: type mismatch;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ound : A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quired: B</a:t>
            </a:r>
          </a:p>
          <a:p>
            <a:pPr marL="800100" lvl="2" indent="0">
              <a:buNone/>
            </a:pP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: B = new A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^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: B = new B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b: B = B</a:t>
            </a:r>
          </a:p>
          <a:p>
            <a:r>
              <a:rPr lang="en-US" sz="2000" noProof="0" dirty="0" smtClean="0"/>
              <a:t>Inference of common type</a:t>
            </a:r>
            <a:r>
              <a:rPr lang="en-US" noProof="0" dirty="0" smtClean="0"/>
              <a:t>: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isc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List(new C, new A, new B)</a:t>
            </a:r>
          </a:p>
          <a:p>
            <a:pPr marL="800100" lvl="2" indent="0">
              <a:buNone/>
            </a:pPr>
            <a:r>
              <a:rPr lang="en-US" b="1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isc</a:t>
            </a:r>
            <a:r>
              <a:rPr lang="en-US" b="1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List[A] 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List(C, A, B)</a:t>
            </a: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essages = 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isc.map</a:t>
            </a: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_.hi).</a:t>
            </a:r>
            <a:r>
              <a:rPr lang="en-US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istinct.sorted</a:t>
            </a:r>
            <a:endParaRPr lang="en-US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800100" lvl="2" indent="0">
              <a:buNone/>
            </a:pPr>
            <a:r>
              <a:rPr lang="en-US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essages: List[String] = List(Hello from A, hi C -&gt; Hello from A)</a:t>
            </a:r>
            <a:endParaRPr lang="en-US" noProof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7" name="Rounded Rectangular Callout 6"/>
          <p:cNvSpPr/>
          <p:nvPr/>
        </p:nvSpPr>
        <p:spPr>
          <a:xfrm>
            <a:off x="4246342" y="935494"/>
            <a:ext cx="2080500" cy="791135"/>
          </a:xfrm>
          <a:prstGeom prst="wedgeRoundRectCallout">
            <a:avLst>
              <a:gd name="adj1" fmla="val -86325"/>
              <a:gd name="adj2" fmla="val 77236"/>
              <a:gd name="adj3" fmla="val 16667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/>
            <a:r>
              <a:rPr lang="en-US" sz="1200" dirty="0">
                <a:solidFill>
                  <a:srgbClr val="213E7F"/>
                </a:solidFill>
              </a:rPr>
              <a:t>- An instance of a subclass can be used in place of an instance of its parent class, but not the inverse</a:t>
            </a:r>
          </a:p>
        </p:txBody>
      </p:sp>
    </p:spTree>
    <p:extLst>
      <p:ext uri="{BB962C8B-B14F-4D97-AF65-F5344CB8AC3E}">
        <p14:creationId xmlns:p14="http://schemas.microsoft.com/office/powerpoint/2010/main" val="263295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 smtClean="0"/>
              <a:t>Class Definition (1 / 3)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4" y="863693"/>
            <a:ext cx="8243888" cy="3896566"/>
          </a:xfrm>
        </p:spPr>
        <p:txBody>
          <a:bodyPr>
            <a:noAutofit/>
          </a:bodyPr>
          <a:lstStyle/>
          <a:p>
            <a:r>
              <a:rPr lang="en-US" sz="2400" noProof="0" dirty="0" smtClean="0"/>
              <a:t>With </a:t>
            </a:r>
            <a:r>
              <a:rPr lang="en-US" sz="2400" b="1" noProof="0" dirty="0" err="1" smtClean="0"/>
              <a:t>val</a:t>
            </a:r>
            <a:r>
              <a:rPr lang="en-US" sz="2400" noProof="0" dirty="0" smtClean="0"/>
              <a:t> and </a:t>
            </a:r>
            <a:r>
              <a:rPr lang="en-US" sz="2400" b="1" noProof="0" dirty="0" err="1" smtClean="0"/>
              <a:t>var</a:t>
            </a:r>
            <a:r>
              <a:rPr lang="en-US" sz="2400" noProof="0" dirty="0" smtClean="0"/>
              <a:t> fields as parameters</a:t>
            </a:r>
          </a:p>
          <a:p>
            <a:pPr marL="0" lvl="1" indent="0">
              <a:buNone/>
            </a:pPr>
            <a:endParaRPr lang="en-US" sz="1800" noProof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ar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ke: String,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served: Boolean) {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serve(r: Boolean): Unit = { reserved = r }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ar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t = new Car("Toyota", false)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: Car = Car@4eb48298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.reserve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true)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My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${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.make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 is now reserved? ${</a:t>
            </a:r>
            <a:r>
              <a:rPr lang="en-US" sz="18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.reserved</a:t>
            </a: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")</a:t>
            </a:r>
          </a:p>
          <a:p>
            <a:pPr marL="0" lvl="1" indent="0">
              <a:buNone/>
            </a:pPr>
            <a:r>
              <a:rPr lang="en-US" sz="18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y Toyota is now reserved? Tru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21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noProof="0" dirty="0" smtClean="0"/>
              <a:t>Class Definition (2/3)</a:t>
            </a:r>
            <a:endParaRPr lang="en-US" sz="25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400" noProof="0" dirty="0" smtClean="0"/>
              <a:t>Subclass definition</a:t>
            </a:r>
          </a:p>
          <a:p>
            <a:pPr marL="0" lvl="1" indent="0">
              <a:buNone/>
            </a:pPr>
            <a:endParaRPr lang="en-US" sz="2400" dirty="0"/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Lotus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color: String, reserved: Boolean) extends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r("Lotus", reserved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Lotus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 = new Lotus("Silver", false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: Lotus = Lotus@52c46334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ntln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Requested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 ${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.color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 ${</a:t>
            </a:r>
            <a:r>
              <a:rPr lang="en-US" sz="1600" noProof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.make</a:t>
            </a: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")</a:t>
            </a:r>
          </a:p>
          <a:p>
            <a:pPr marL="0" lvl="1" indent="0">
              <a:buNone/>
            </a:pPr>
            <a:r>
              <a:rPr lang="en-US" sz="1600" noProof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quested a Silver Lotu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02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500" noProof="0" dirty="0" smtClean="0"/>
              <a:t>Class Definition (3/3)</a:t>
            </a:r>
            <a:endParaRPr lang="en-US" sz="25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US" dirty="0"/>
              <a:t>introduction to </a:t>
            </a:r>
            <a:r>
              <a:rPr lang="en-US" dirty="0" smtClean="0"/>
              <a:t>scala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auto">
          <a:xfrm>
            <a:off x="443707" y="954647"/>
            <a:ext cx="8377564" cy="3483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179388" lvl="0" indent="-179388" defTabSz="685800">
              <a:spcBef>
                <a:spcPts val="600"/>
              </a:spcBef>
              <a:buClr>
                <a:srgbClr val="0097D9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cs typeface="ＭＳ Ｐゴシック" charset="0"/>
              </a:rPr>
              <a:t>Default Values</a:t>
            </a:r>
          </a:p>
          <a:p>
            <a:pPr marL="0" lvl="1">
              <a:buNone/>
            </a:pPr>
            <a:endParaRPr lang="en-US" sz="2000" dirty="0">
              <a:cs typeface="Courier New" panose="02070309020205020404" pitchFamily="49" charset="0"/>
            </a:endParaRP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class Car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ake: String,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reserved: Boolean = true,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year: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2015) {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override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String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"$yea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$make, reserved = $reserved"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| }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defined class Car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 = new Car("Acura")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a: Car = 2015 Acura, reserved = true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l = new Car("Lexus", year = 2010)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: Car = 2010 Lexus, reserved = true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ala&gt;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 = new Car(reserved = false, make = "Porsche")</a:t>
            </a:r>
          </a:p>
          <a:p>
            <a:pPr marL="0" lvl="1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: Car = 2015 Porsche, reserved = false</a:t>
            </a:r>
            <a:endParaRPr lang="en-US" sz="5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endParaRPr lang="en-GB" sz="950" dirty="0"/>
          </a:p>
        </p:txBody>
      </p:sp>
    </p:spTree>
    <p:extLst>
      <p:ext uri="{BB962C8B-B14F-4D97-AF65-F5344CB8AC3E}">
        <p14:creationId xmlns:p14="http://schemas.microsoft.com/office/powerpoint/2010/main" val="337508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-Template_15100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lIns="36000" tIns="36000" rIns="36000" bIns="36000" rtlCol="0" anchor="ctr"/>
      <a:lstStyle>
        <a:defPPr>
          <a:defRPr sz="1200" dirty="0">
            <a:solidFill>
              <a:srgbClr val="213E7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c2e5be42-5d64-46f5-800b-d2c0373f572f">2HU33M2NP4CA-94-141</_dlc_DocId>
    <_dlc_DocIdUrl xmlns="c2e5be42-5d64-46f5-800b-d2c0373f572f">
      <Url>https://share.gft.com/sites/knowledge/BigData/_layouts/DocIdRedir.aspx?ID=2HU33M2NP4CA-94-141</Url>
      <Description>2HU33M2NP4CA-94-141</Description>
    </_dlc_DocIdUrl>
    <jd9d0f75caa8411ea4c39ef74a455679 xmlns="3ffd839a-a86e-4835-9fad-0cdd6d4e8ba0">
      <Terms xmlns="http://schemas.microsoft.com/office/infopath/2007/PartnerControls">
        <TermInfo xmlns="http://schemas.microsoft.com/office/infopath/2007/PartnerControls">
          <TermName xmlns="http://schemas.microsoft.com/office/infopath/2007/PartnerControls">Big Data</TermName>
          <TermId xmlns="http://schemas.microsoft.com/office/infopath/2007/PartnerControls">3584df86-3e23-482e-94b6-e579b1a03a82</TermId>
        </TermInfo>
      </Terms>
    </jd9d0f75caa8411ea4c39ef74a455679>
    <TaxCatchAll xmlns="c2e5be42-5d64-46f5-800b-d2c0373f572f">
      <Value>23</Value>
    </TaxCatchAl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D7D33DB11EAE45BD9BC443370DB50F" ma:contentTypeVersion="3" ma:contentTypeDescription="Create a new document." ma:contentTypeScope="" ma:versionID="eb7aff425be769235a38d3c0cdada0e5">
  <xsd:schema xmlns:xsd="http://www.w3.org/2001/XMLSchema" xmlns:xs="http://www.w3.org/2001/XMLSchema" xmlns:p="http://schemas.microsoft.com/office/2006/metadata/properties" xmlns:ns2="c2e5be42-5d64-46f5-800b-d2c0373f572f" xmlns:ns3="3ffd839a-a86e-4835-9fad-0cdd6d4e8ba0" targetNamespace="http://schemas.microsoft.com/office/2006/metadata/properties" ma:root="true" ma:fieldsID="b85417593b1b35ece2b6b9c42564e232" ns2:_="" ns3:_="">
    <xsd:import namespace="c2e5be42-5d64-46f5-800b-d2c0373f572f"/>
    <xsd:import namespace="3ffd839a-a86e-4835-9fad-0cdd6d4e8ba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jd9d0f75caa8411ea4c39ef74a455679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e5be42-5d64-46f5-800b-d2c0373f572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3" nillable="true" ma:displayName="Taxonomy Catch All Column" ma:hidden="true" ma:list="{d5aabfcc-0dc6-4080-b701-2337a4a29180}" ma:internalName="TaxCatchAll" ma:showField="CatchAllData" ma:web="c2e5be42-5d64-46f5-800b-d2c0373f572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fd839a-a86e-4835-9fad-0cdd6d4e8ba0" elementFormDefault="qualified">
    <xsd:import namespace="http://schemas.microsoft.com/office/2006/documentManagement/types"/>
    <xsd:import namespace="http://schemas.microsoft.com/office/infopath/2007/PartnerControls"/>
    <xsd:element name="jd9d0f75caa8411ea4c39ef74a455679" ma:index="12" nillable="true" ma:taxonomy="true" ma:internalName="jd9d0f75caa8411ea4c39ef74a455679" ma:taxonomyFieldName="Tags" ma:displayName="Tags" ma:default="" ma:fieldId="{3d9d0f75-caa8-411e-a4c3-9ef74a455679}" ma:taxonomyMulti="true" ma:sspId="caaa4a9c-149a-4bb6-9562-3975e6eca66a" ma:termSetId="3392d499-9212-4ef1-9e07-09ffe4c5b8f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BD5DFB5-44F2-468C-8657-D47CA3EB06E8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C0F1B3C2-59E1-49F3-AC55-C4840754CF72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c2e5be42-5d64-46f5-800b-d2c0373f572f"/>
    <ds:schemaRef ds:uri="3ffd839a-a86e-4835-9fad-0cdd6d4e8ba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30E5463-8777-4772-A86E-3024DA8ABF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e5be42-5d64-46f5-800b-d2c0373f572f"/>
    <ds:schemaRef ds:uri="3ffd839a-a86e-4835-9fad-0cdd6d4e8b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7487E96E-CDCD-4C58-B8C5-AC5A0C71BB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-Template_151009</Template>
  <TotalTime>5737</TotalTime>
  <Words>13122</Words>
  <Application>Microsoft Office PowerPoint</Application>
  <PresentationFormat>On-screen Show (16:9)</PresentationFormat>
  <Paragraphs>1758</Paragraphs>
  <Slides>14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2</vt:i4>
      </vt:variant>
    </vt:vector>
  </HeadingPairs>
  <TitlesOfParts>
    <vt:vector size="149" baseType="lpstr">
      <vt:lpstr>ＭＳ Ｐゴシック</vt:lpstr>
      <vt:lpstr>Arial</vt:lpstr>
      <vt:lpstr>Calibri</vt:lpstr>
      <vt:lpstr>Courier New</vt:lpstr>
      <vt:lpstr>Wingdings</vt:lpstr>
      <vt:lpstr>GFT_Master-Template_151009</vt:lpstr>
      <vt:lpstr>think-cell Folie</vt:lpstr>
      <vt:lpstr>Introduction to Scala</vt:lpstr>
      <vt:lpstr>PowerPoint Presentation</vt:lpstr>
      <vt:lpstr>PowerPoint Presentation</vt:lpstr>
      <vt:lpstr>Scope of the course</vt:lpstr>
      <vt:lpstr>PowerPoint Presentation</vt:lpstr>
      <vt:lpstr>Scalable language</vt:lpstr>
      <vt:lpstr>Scala good integration</vt:lpstr>
      <vt:lpstr>PowerPoint Presentation</vt:lpstr>
      <vt:lpstr>Type Inference</vt:lpstr>
      <vt:lpstr>Exercises</vt:lpstr>
      <vt:lpstr>PowerPoint Presentation</vt:lpstr>
      <vt:lpstr>Literals, Values, Variables &amp; Types</vt:lpstr>
      <vt:lpstr>Literals, Values, Variables &amp; Types</vt:lpstr>
      <vt:lpstr>Immutability to avoid side effects</vt:lpstr>
      <vt:lpstr>String Interpolation</vt:lpstr>
      <vt:lpstr>Scala class hierarchy</vt:lpstr>
      <vt:lpstr>Type operations</vt:lpstr>
      <vt:lpstr>Tuples</vt:lpstr>
      <vt:lpstr>Exercises</vt:lpstr>
      <vt:lpstr>PowerPoint Presentation</vt:lpstr>
      <vt:lpstr>Expressions and Conditionals</vt:lpstr>
      <vt:lpstr>IF-Else Expressions</vt:lpstr>
      <vt:lpstr>Match Expressions</vt:lpstr>
      <vt:lpstr>Match Expressions with patterns</vt:lpstr>
      <vt:lpstr>Match Expressions (cont.)</vt:lpstr>
      <vt:lpstr>Loops - For</vt:lpstr>
      <vt:lpstr>Loops - For</vt:lpstr>
      <vt:lpstr>Loops – While Do/While</vt:lpstr>
      <vt:lpstr>Exercises</vt:lpstr>
      <vt:lpstr>PowerPoint Presentation</vt:lpstr>
      <vt:lpstr>Functions (1 / 3)</vt:lpstr>
      <vt:lpstr>Functions (2 / 3)</vt:lpstr>
      <vt:lpstr>Functions (3 / 3)</vt:lpstr>
      <vt:lpstr>Recursive Functions</vt:lpstr>
      <vt:lpstr>Other things about Functions (1/3)</vt:lpstr>
      <vt:lpstr>Other things about Functions (2/3)</vt:lpstr>
      <vt:lpstr>Other things about Functions (3/3)</vt:lpstr>
      <vt:lpstr>Exercises</vt:lpstr>
      <vt:lpstr>PowerPoint Presentation</vt:lpstr>
      <vt:lpstr>First Order Functions</vt:lpstr>
      <vt:lpstr>Function Types and Values (1/2)</vt:lpstr>
      <vt:lpstr>Function Types and Values (2 / 2)</vt:lpstr>
      <vt:lpstr>Higher-Order Functions</vt:lpstr>
      <vt:lpstr>Functions Literals or Anonymous Functions or Lambdas expressions ( 1 / 2)</vt:lpstr>
      <vt:lpstr>Functions Literals (2 / 2)</vt:lpstr>
      <vt:lpstr>Placeholder _ Syntax (1 / 2)</vt:lpstr>
      <vt:lpstr>Placeholder _ Syntax (2 / 2)</vt:lpstr>
      <vt:lpstr>Partially Applied Functions and Currying</vt:lpstr>
      <vt:lpstr>Partially Applied Functions and Currying</vt:lpstr>
      <vt:lpstr>By-Name Parameters</vt:lpstr>
      <vt:lpstr>By-Name Parameters (Example)</vt:lpstr>
      <vt:lpstr>Partial Functions</vt:lpstr>
      <vt:lpstr>Invoking Higher-Order Functions with Function Literal Blocks (1 / 2)</vt:lpstr>
      <vt:lpstr>Invoking Higher-Order Functions with Function Literal Blocks (2 / 2)</vt:lpstr>
      <vt:lpstr>Exercises</vt:lpstr>
      <vt:lpstr>PowerPoint Presentation</vt:lpstr>
      <vt:lpstr>Common Collections</vt:lpstr>
      <vt:lpstr>Lists (1/2)</vt:lpstr>
      <vt:lpstr>List (2 / 2)</vt:lpstr>
      <vt:lpstr>List Arithmetic – Operations on lists</vt:lpstr>
      <vt:lpstr>Mapping Lists</vt:lpstr>
      <vt:lpstr>Reducing Lists (1 / 2)</vt:lpstr>
      <vt:lpstr>Reducing Lists (2 / 2 )</vt:lpstr>
      <vt:lpstr>Set </vt:lpstr>
      <vt:lpstr>Map</vt:lpstr>
      <vt:lpstr>Converting collections (1 / 2)</vt:lpstr>
      <vt:lpstr>Converting collections (2 / 2)</vt:lpstr>
      <vt:lpstr>Pattern Matching with Collections (1 / 2)</vt:lpstr>
      <vt:lpstr>Pattern Matching with Collections (2 / 2)</vt:lpstr>
      <vt:lpstr>Exercises</vt:lpstr>
      <vt:lpstr>PowerPoint Presentation</vt:lpstr>
      <vt:lpstr>Mutable / Immutable (1/2)</vt:lpstr>
      <vt:lpstr>Mutable / Immutable (2/2)</vt:lpstr>
      <vt:lpstr>Arrays</vt:lpstr>
      <vt:lpstr>Seq &amp; Sequences</vt:lpstr>
      <vt:lpstr>Streams </vt:lpstr>
      <vt:lpstr>Streams – Example</vt:lpstr>
      <vt:lpstr>Streams – Bounded Stream</vt:lpstr>
      <vt:lpstr>Monadic Collections</vt:lpstr>
      <vt:lpstr>Option Collections (1/2)</vt:lpstr>
      <vt:lpstr>Option Collections (2/2)</vt:lpstr>
      <vt:lpstr>Option Collections (2/2)</vt:lpstr>
      <vt:lpstr>Try Collections (1/2)</vt:lpstr>
      <vt:lpstr>Try Collections (2/2)</vt:lpstr>
      <vt:lpstr>Try Collections – Handling Errors</vt:lpstr>
      <vt:lpstr>Try Collections – Other Examples</vt:lpstr>
      <vt:lpstr>Try Collections – Table</vt:lpstr>
      <vt:lpstr>Future Collections (1/2)</vt:lpstr>
      <vt:lpstr>Future Collections (2/3)</vt:lpstr>
      <vt:lpstr>Future Collections (3/3)</vt:lpstr>
      <vt:lpstr>Exercises</vt:lpstr>
      <vt:lpstr>PowerPoint Presentation</vt:lpstr>
      <vt:lpstr>OOScala - Classes</vt:lpstr>
      <vt:lpstr>OOScala - Classes</vt:lpstr>
      <vt:lpstr>Classes Inheritance &amp; Polymorphism</vt:lpstr>
      <vt:lpstr>Classes Inheritance &amp; Polymorphism</vt:lpstr>
      <vt:lpstr>Class Definition (1 / 3)</vt:lpstr>
      <vt:lpstr>Class Definition (2/3)</vt:lpstr>
      <vt:lpstr>Class Definition (3/3)</vt:lpstr>
      <vt:lpstr>Classes with Type Parameters</vt:lpstr>
      <vt:lpstr>Abstract classes</vt:lpstr>
      <vt:lpstr>Anonymous Classes</vt:lpstr>
      <vt:lpstr>Field and Method Types</vt:lpstr>
      <vt:lpstr>Field and Method Types - Apply Method </vt:lpstr>
      <vt:lpstr>Field and Method Types – Lazy Values</vt:lpstr>
      <vt:lpstr>Packaging (1/2)</vt:lpstr>
      <vt:lpstr>Packaging (2/2)</vt:lpstr>
      <vt:lpstr>Privacy Controls</vt:lpstr>
      <vt:lpstr>Final and Sealed Classes</vt:lpstr>
      <vt:lpstr>Exercises</vt:lpstr>
      <vt:lpstr>PowerPoint Presentation</vt:lpstr>
      <vt:lpstr>Objects (1/4)</vt:lpstr>
      <vt:lpstr>Objects (2/4)</vt:lpstr>
      <vt:lpstr>Objects (3/4)</vt:lpstr>
      <vt:lpstr>Objects (4/4)</vt:lpstr>
      <vt:lpstr>Command-Line Applications with Objects</vt:lpstr>
      <vt:lpstr>Case Classes (1/3)</vt:lpstr>
      <vt:lpstr>Case Classes (2/3)</vt:lpstr>
      <vt:lpstr>Case Classes (3/3)</vt:lpstr>
      <vt:lpstr>Case Classes – Example</vt:lpstr>
      <vt:lpstr>Traits (1/2)</vt:lpstr>
      <vt:lpstr>Traits (2/2)</vt:lpstr>
      <vt:lpstr>Linearization - Traits</vt:lpstr>
      <vt:lpstr>Self Types in Traits (1 / 2)</vt:lpstr>
      <vt:lpstr>Self Types in Traits (2 / 2)</vt:lpstr>
      <vt:lpstr>Instantiation with Traits (1 / 2) </vt:lpstr>
      <vt:lpstr>Instantiation with Traits (2 / 2)</vt:lpstr>
      <vt:lpstr>Import Instance Members</vt:lpstr>
      <vt:lpstr>Exercises</vt:lpstr>
      <vt:lpstr>PowerPoint Presentation</vt:lpstr>
      <vt:lpstr>Implicit parameters</vt:lpstr>
      <vt:lpstr>Implicit Classes</vt:lpstr>
      <vt:lpstr>Types - Type alias</vt:lpstr>
      <vt:lpstr>Types - Abstract Types</vt:lpstr>
      <vt:lpstr>Types- Bounded Types (1 / 2)</vt:lpstr>
      <vt:lpstr>Types- Bounded Types (2 / 2)</vt:lpstr>
      <vt:lpstr>Types - Type Variance (1 / 2)</vt:lpstr>
      <vt:lpstr>Types - Type Variance</vt:lpstr>
      <vt:lpstr>Types – Covariant type</vt:lpstr>
      <vt:lpstr>Types – Contravariant type</vt:lpstr>
      <vt:lpstr>Types – covariant / contravariant</vt:lpstr>
      <vt:lpstr>PowerPoint Presentation</vt:lpstr>
    </vt:vector>
  </TitlesOfParts>
  <Company>GFT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ner for digital transformation</dc:title>
  <dc:creator>GFT</dc:creator>
  <cp:lastModifiedBy>Rey Retortillo, Angel Jose</cp:lastModifiedBy>
  <cp:revision>368</cp:revision>
  <cp:lastPrinted>2015-12-10T11:56:45Z</cp:lastPrinted>
  <dcterms:created xsi:type="dcterms:W3CDTF">2015-10-14T12:33:52Z</dcterms:created>
  <dcterms:modified xsi:type="dcterms:W3CDTF">2016-05-31T18:2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D7D33DB11EAE45BD9BC443370DB50F</vt:lpwstr>
  </property>
  <property fmtid="{D5CDD505-2E9C-101B-9397-08002B2CF9AE}" pid="3" name="_dlc_DocIdItemGuid">
    <vt:lpwstr>b2b3db2d-fef2-4f3c-9923-b52e6f7d6a2a</vt:lpwstr>
  </property>
  <property fmtid="{D5CDD505-2E9C-101B-9397-08002B2CF9AE}" pid="4" name="Tags">
    <vt:lpwstr>23;#Big Data|3584df86-3e23-482e-94b6-e579b1a03a82</vt:lpwstr>
  </property>
</Properties>
</file>